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m4a" ContentType="audio/mp4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2.xml" ContentType="application/vnd.openxmlformats-officedocument.theme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comments/modernComment_7FF64A63_51E7201F.xml" ContentType="application/vnd.ms-powerpoint.comment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omments/modernComment_7FF64AE8_B7A61C5F.xml" ContentType="application/vnd.ms-powerpoint.comment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704" r:id="rId4"/>
    <p:sldMasterId id="2147483831" r:id="rId5"/>
  </p:sldMasterIdLst>
  <p:notesMasterIdLst>
    <p:notesMasterId r:id="rId45"/>
  </p:notesMasterIdLst>
  <p:handoutMasterIdLst>
    <p:handoutMasterId r:id="rId46"/>
  </p:handoutMasterIdLst>
  <p:sldIdLst>
    <p:sldId id="2146847314" r:id="rId6"/>
    <p:sldId id="2146847331" r:id="rId7"/>
    <p:sldId id="2146847402" r:id="rId8"/>
    <p:sldId id="2146847403" r:id="rId9"/>
    <p:sldId id="2146847404" r:id="rId10"/>
    <p:sldId id="2146847405" r:id="rId11"/>
    <p:sldId id="2146847406" r:id="rId12"/>
    <p:sldId id="2146847468" r:id="rId13"/>
    <p:sldId id="2146847412" r:id="rId14"/>
    <p:sldId id="2146847466" r:id="rId15"/>
    <p:sldId id="2146847411" r:id="rId16"/>
    <p:sldId id="2146847392" r:id="rId17"/>
    <p:sldId id="2146847359" r:id="rId18"/>
    <p:sldId id="2146847360" r:id="rId19"/>
    <p:sldId id="2146847413" r:id="rId20"/>
    <p:sldId id="2146847417" r:id="rId21"/>
    <p:sldId id="2146847422" r:id="rId22"/>
    <p:sldId id="2146847423" r:id="rId23"/>
    <p:sldId id="2146847424" r:id="rId24"/>
    <p:sldId id="2146847425" r:id="rId25"/>
    <p:sldId id="2146847426" r:id="rId26"/>
    <p:sldId id="2146847427" r:id="rId27"/>
    <p:sldId id="2146847418" r:id="rId28"/>
    <p:sldId id="2146847428" r:id="rId29"/>
    <p:sldId id="2146847419" r:id="rId30"/>
    <p:sldId id="2146847467" r:id="rId31"/>
    <p:sldId id="2146847429" r:id="rId32"/>
    <p:sldId id="2146847431" r:id="rId33"/>
    <p:sldId id="2146847454" r:id="rId34"/>
    <p:sldId id="2146847457" r:id="rId35"/>
    <p:sldId id="2146847456" r:id="rId36"/>
    <p:sldId id="2146847464" r:id="rId37"/>
    <p:sldId id="2146847445" r:id="rId38"/>
    <p:sldId id="2146847469" r:id="rId39"/>
    <p:sldId id="2146847460" r:id="rId40"/>
    <p:sldId id="2146847459" r:id="rId41"/>
    <p:sldId id="2146847458" r:id="rId42"/>
    <p:sldId id="2146847461" r:id="rId43"/>
    <p:sldId id="2146847463" r:id="rId44"/>
  </p:sldIdLst>
  <p:sldSz cx="12192000" cy="6858000"/>
  <p:notesSz cx="7010400" cy="9296400"/>
  <p:embeddedFontLst>
    <p:embeddedFont>
      <p:font typeface="Calibri" panose="020F0502020204030204" pitchFamily="34" charset="0"/>
      <p:regular r:id="rId47"/>
      <p:bold r:id="rId48"/>
      <p:italic r:id="rId49"/>
      <p:boldItalic r:id="rId50"/>
    </p:embeddedFont>
    <p:embeddedFont>
      <p:font typeface="Calibri Light" panose="020F0302020204030204" pitchFamily="34" charset="0"/>
      <p:regular r:id="rId51"/>
      <p:italic r:id="rId52"/>
    </p:embeddedFont>
    <p:embeddedFont>
      <p:font typeface="Georgia" panose="02040502050405020303" pitchFamily="18" charset="0"/>
      <p:regular r:id="rId53"/>
      <p:bold r:id="rId54"/>
      <p:italic r:id="rId55"/>
      <p:boldItalic r:id="rId56"/>
    </p:embeddedFont>
    <p:embeddedFont>
      <p:font typeface="Sailec" pitchFamily="2" charset="77"/>
      <p:regular r:id="rId57"/>
      <p:bold r:id="rId58"/>
      <p:italic r:id="rId59"/>
    </p:embeddedFont>
    <p:embeddedFont>
      <p:font typeface="Sailec Light" pitchFamily="2" charset="77"/>
      <p:regular r:id="rId60"/>
    </p:embeddedFont>
    <p:embeddedFont>
      <p:font typeface="Sailec-Bold" pitchFamily="2" charset="77"/>
      <p:regular r:id="rId61"/>
      <p:bold r:id="rId62"/>
    </p:embeddedFont>
  </p:embeddedFontLst>
  <p:custDataLst>
    <p:tags r:id="rId63"/>
  </p:custDataLst>
  <p:defaultTextStyle>
    <a:defPPr>
      <a:defRPr lang="en-US"/>
    </a:defPPr>
    <a:lvl1pPr marL="0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1pPr>
    <a:lvl2pPr marL="449395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2pPr>
    <a:lvl3pPr marL="898798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3pPr>
    <a:lvl4pPr marL="1348197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4pPr>
    <a:lvl5pPr marL="1797598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5pPr>
    <a:lvl6pPr marL="2246992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6pPr>
    <a:lvl7pPr marL="2696387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7pPr>
    <a:lvl8pPr marL="3145788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8pPr>
    <a:lvl9pPr marL="3595185" algn="l" defTabSz="898798" rtl="0" eaLnBrk="1" latinLnBrk="0" hangingPunct="1">
      <a:defRPr sz="971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0CB6317A-D041-4C15-A12C-79A7AF2E4855}">
          <p14:sldIdLst>
            <p14:sldId id="2146847314"/>
            <p14:sldId id="2146847331"/>
            <p14:sldId id="2146847402"/>
            <p14:sldId id="2146847403"/>
            <p14:sldId id="2146847404"/>
            <p14:sldId id="2146847405"/>
            <p14:sldId id="2146847406"/>
            <p14:sldId id="2146847468"/>
            <p14:sldId id="2146847412"/>
            <p14:sldId id="2146847466"/>
            <p14:sldId id="2146847411"/>
            <p14:sldId id="2146847392"/>
            <p14:sldId id="2146847359"/>
            <p14:sldId id="2146847360"/>
            <p14:sldId id="2146847413"/>
            <p14:sldId id="2146847417"/>
            <p14:sldId id="2146847422"/>
            <p14:sldId id="2146847423"/>
            <p14:sldId id="2146847424"/>
            <p14:sldId id="2146847425"/>
            <p14:sldId id="2146847426"/>
            <p14:sldId id="2146847427"/>
            <p14:sldId id="2146847418"/>
            <p14:sldId id="2146847428"/>
            <p14:sldId id="2146847419"/>
            <p14:sldId id="2146847467"/>
            <p14:sldId id="2146847429"/>
            <p14:sldId id="2146847431"/>
            <p14:sldId id="2146847454"/>
            <p14:sldId id="2146847457"/>
            <p14:sldId id="2146847456"/>
            <p14:sldId id="2146847464"/>
            <p14:sldId id="2146847445"/>
            <p14:sldId id="2146847469"/>
            <p14:sldId id="2146847460"/>
            <p14:sldId id="2146847459"/>
            <p14:sldId id="2146847458"/>
            <p14:sldId id="2146847461"/>
            <p14:sldId id="2146847463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28">
          <p15:clr>
            <a:srgbClr val="A4A3A4"/>
          </p15:clr>
        </p15:guide>
        <p15:guide id="2" pos="2208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998D505-F663-3B52-C265-F3A4CF6126AE}" name="Marion Cosperec" initials="MC" userId="S::marion@destincommun.fr::133900f8-d542-4469-9d5e-ad7d3bd62507" providerId="AD"/>
  <p188:author id="{54DFB574-80DC-3C51-B41F-D24D885696AB}" name="Laurence de Nervaux" initials="LdN" userId="S::laurence@destincommun.fr::06cc0866-46a4-4683-8e54-88066bd9a722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  <p:cmAuthor id="3" name="Abdoulbar Djaffar (MA)" initials="AD(" lastIdx="9" clrIdx="2">
    <p:extLst>
      <p:ext uri="{19B8F6BF-5375-455C-9EA6-DF929625EA0E}">
        <p15:presenceInfo xmlns:p15="http://schemas.microsoft.com/office/powerpoint/2012/main" userId="S::abdoulbar.djaffar@pwc.com::a4e5fbf2-391a-4567-9242-0e7a2d059b3d" providerId="AD"/>
      </p:ext>
    </p:extLst>
  </p:cmAuthor>
  <p:cmAuthor id="4" name="Mohamed Seffar (MA)" initials="MS(" lastIdx="2" clrIdx="3">
    <p:extLst>
      <p:ext uri="{19B8F6BF-5375-455C-9EA6-DF929625EA0E}">
        <p15:presenceInfo xmlns:p15="http://schemas.microsoft.com/office/powerpoint/2012/main" userId="S::mohamed.seffar@pwc.com::024292f1-8b5b-430a-91e4-c9b67a142e8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4099"/>
    <a:srgbClr val="009F5B"/>
    <a:srgbClr val="17C1E8"/>
    <a:srgbClr val="F26A5D"/>
    <a:srgbClr val="12A059"/>
    <a:srgbClr val="234389"/>
    <a:srgbClr val="F2C738"/>
    <a:srgbClr val="94829F"/>
    <a:srgbClr val="F23A5E"/>
    <a:srgbClr val="1EC0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D5C30875-5027-47A9-8995-C2BF9F8F2FF4}">
  <a:tblStyle styleId="{74ED0A72-4B8E-423B-AE2F-120ADE3C16FB}" styleName="Strategy&amp;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6350" cmpd="sng">
              <a:solidFill>
                <a:schemeClr val="dk1"/>
              </a:solidFill>
            </a:ln>
          </a:bottom>
        </a:tcBdr>
      </a:tcStyle>
    </a:band1H>
    <a:band2H>
      <a:tcStyle>
        <a:tcBdr>
          <a:bottom>
            <a:ln w="6350" cmpd="sng">
              <a:solidFill>
                <a:schemeClr val="dk1"/>
              </a:solidFill>
            </a:ln>
          </a:bottom>
        </a:tcBdr>
        <a:fill>
          <a:solidFill>
            <a:schemeClr val="lt2"/>
          </a:solidFill>
        </a:fill>
      </a:tcStyle>
    </a:band2H>
    <a:firstCol>
      <a:tcTxStyle b="off">
        <a:fontRef idx="minor">
          <a:prstClr val="black"/>
        </a:fontRef>
        <a:schemeClr val="dk1"/>
      </a:tcTxStyle>
      <a:tcStyle>
        <a:tcBdr/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6350" cmpd="sng">
              <a:solidFill>
                <a:schemeClr val="dk1"/>
              </a:solidFill>
            </a:ln>
          </a:top>
          <a:bottom>
            <a:ln w="6350" cmpd="sng">
              <a:solidFill>
                <a:schemeClr val="dk1"/>
              </a:solidFill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 w="12700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74ED0A72-4B8E-423B-AE2F-120ADE3C16FC}" styleName="Smart Table Tex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1H>
    <a:band2H>
      <a:tcStyle>
        <a:tcBdr>
          <a:bottom>
            <a:ln w="6350" cmpd="sng">
              <a:solidFill>
                <a:schemeClr val="dk2"/>
              </a:solidFill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 b="off">
        <a:fontRef idx="minor">
          <a:prstClr val="black"/>
        </a:fontRef>
        <a:schemeClr val="dk1"/>
      </a:tcTxStyle>
      <a:tcStyle>
        <a:tcBdr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E81BAE4E-8E61-4555-8164-91CCB0C98032}" styleName="Smart Text List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>
              <a:noFill/>
            </a:ln>
          </a:bottom>
        </a:tcBdr>
      </a:tcStyle>
    </a:band1H>
    <a:band2H>
      <a:tcStyle>
        <a:tcBdr>
          <a:bottom>
            <a:ln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lastRow>
      <a:tcTxStyle>
        <a:fontRef idx="major">
          <a:prstClr val="black"/>
        </a:fontRef>
        <a:schemeClr val="dk1"/>
      </a:tcTxStyle>
      <a:tcStyle>
        <a:tcBdr>
          <a:top>
            <a:ln>
              <a:noFill/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>
          <a:prstClr val="black"/>
        </a:fontRef>
        <a:schemeClr val="accent1"/>
      </a:tcTxStyle>
      <a:tcStyle>
        <a:tcBdr>
          <a:top>
            <a:ln>
              <a:noFill/>
            </a:ln>
          </a:top>
          <a:bottom>
            <a:ln w="1905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69D073F8-1565-44D7-B386-08B59EADF2EE}" styleName="Smart Basic">
    <a:wholeTbl>
      <a:tcTxStyle>
        <a:fontRef idx="minor">
          <a:prstClr val="black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bottom>
            <a:ln w="38100" cmpd="sng">
              <a:noFill/>
            </a:ln>
          </a:bottom>
        </a:tcBdr>
      </a:tcStyle>
    </a:band1H>
    <a:band2H>
      <a:tcStyle>
        <a:tcBdr>
          <a:bottom>
            <a:ln w="38100" cmpd="sng">
              <a:noFill/>
            </a:ln>
          </a:bottom>
        </a:tcBdr>
      </a:tcStyle>
    </a:band2H>
    <a:firstCol>
      <a:tcTxStyle b="off">
        <a:fontRef idx="minor">
          <a:prstClr val="black"/>
        </a:fontRef>
        <a:schemeClr val="dk1"/>
      </a:tcTxStyle>
      <a:tcStyle>
        <a:tcBdr/>
        <a:fill>
          <a:noFill/>
        </a:fill>
      </a:tcStyle>
    </a:firstCol>
    <a:firstRow>
      <a:tcTxStyle b="on">
        <a:fontRef idx="minor">
          <a:prstClr val="black"/>
        </a:fontRef>
        <a:schemeClr val="accent1"/>
      </a:tcTxStyle>
      <a:tcStyle>
        <a:tcBdr>
          <a:bottom>
            <a:ln w="38100" cmpd="sng">
              <a:noFill/>
            </a:ln>
          </a:bottom>
        </a:tcBdr>
        <a:fill>
          <a:noFill/>
        </a:fill>
      </a:tcStyle>
    </a:firstRow>
  </a:tblStyle>
  <a:tblStyle styleId="{582F6C1B-F5DC-4988-9FA3-4B01CB59C5F3}" styleName="Smart Classic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</a:tcStyle>
    </a:band1H>
    <a:band2H>
      <a:tcStyle>
        <a:tcBdr/>
      </a:tcStyle>
    </a:band2H>
    <a:firstCol>
      <a:tcStyle>
        <a:tcBdr/>
      </a:tcStyle>
    </a:firstCol>
    <a:firstRow>
      <a:tcTxStyle b="on">
        <a:fontRef idx="minor">
          <a:prstClr val="black"/>
        </a:fontRef>
        <a:schemeClr val="accent1"/>
      </a:tcTxStyle>
      <a:tcStyle>
        <a:tcBdr/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128" autoAdjust="0"/>
    <p:restoredTop sz="88066"/>
  </p:normalViewPr>
  <p:slideViewPr>
    <p:cSldViewPr snapToGrid="0" showGuides="1">
      <p:cViewPr varScale="1">
        <p:scale>
          <a:sx n="109" d="100"/>
          <a:sy n="109" d="100"/>
        </p:scale>
        <p:origin x="192" y="2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0" d="100"/>
          <a:sy n="50" d="100"/>
        </p:scale>
        <p:origin x="2684" y="28"/>
      </p:cViewPr>
      <p:guideLst>
        <p:guide orient="horz" pos="2928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42" Type="http://schemas.openxmlformats.org/officeDocument/2006/relationships/slide" Target="slides/slide37.xml"/><Relationship Id="rId47" Type="http://schemas.openxmlformats.org/officeDocument/2006/relationships/font" Target="fonts/font1.fntdata"/><Relationship Id="rId63" Type="http://schemas.openxmlformats.org/officeDocument/2006/relationships/tags" Target="tags/tag1.xml"/><Relationship Id="rId68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notesMaster" Target="notesMasters/notesMaster1.xml"/><Relationship Id="rId53" Type="http://schemas.openxmlformats.org/officeDocument/2006/relationships/font" Target="fonts/font7.fntdata"/><Relationship Id="rId58" Type="http://schemas.openxmlformats.org/officeDocument/2006/relationships/font" Target="fonts/font12.fntdata"/><Relationship Id="rId66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61" Type="http://schemas.openxmlformats.org/officeDocument/2006/relationships/font" Target="fonts/font15.fntdata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font" Target="fonts/font2.fntdata"/><Relationship Id="rId56" Type="http://schemas.openxmlformats.org/officeDocument/2006/relationships/font" Target="fonts/font10.fntdata"/><Relationship Id="rId64" Type="http://schemas.openxmlformats.org/officeDocument/2006/relationships/commentAuthors" Target="commentAuthors.xml"/><Relationship Id="rId69" Type="http://schemas.microsoft.com/office/2018/10/relationships/authors" Target="authors.xml"/><Relationship Id="rId8" Type="http://schemas.openxmlformats.org/officeDocument/2006/relationships/slide" Target="slides/slide3.xml"/><Relationship Id="rId51" Type="http://schemas.openxmlformats.org/officeDocument/2006/relationships/font" Target="fonts/font5.fntdata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handoutMaster" Target="handoutMasters/handoutMaster1.xml"/><Relationship Id="rId59" Type="http://schemas.openxmlformats.org/officeDocument/2006/relationships/font" Target="fonts/font13.fntdata"/><Relationship Id="rId67" Type="http://schemas.openxmlformats.org/officeDocument/2006/relationships/theme" Target="theme/theme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font" Target="fonts/font8.fntdata"/><Relationship Id="rId62" Type="http://schemas.openxmlformats.org/officeDocument/2006/relationships/font" Target="fonts/font16.fntdata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font" Target="fonts/font3.fntdata"/><Relationship Id="rId57" Type="http://schemas.openxmlformats.org/officeDocument/2006/relationships/font" Target="fonts/font11.fntdata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font" Target="fonts/font6.fntdata"/><Relationship Id="rId60" Type="http://schemas.openxmlformats.org/officeDocument/2006/relationships/font" Target="fonts/font14.fntdata"/><Relationship Id="rId65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39" Type="http://schemas.openxmlformats.org/officeDocument/2006/relationships/slide" Target="slides/slide34.xml"/><Relationship Id="rId34" Type="http://schemas.openxmlformats.org/officeDocument/2006/relationships/slide" Target="slides/slide29.xml"/><Relationship Id="rId50" Type="http://schemas.openxmlformats.org/officeDocument/2006/relationships/font" Target="fonts/font4.fntdata"/><Relationship Id="rId55" Type="http://schemas.openxmlformats.org/officeDocument/2006/relationships/font" Target="fonts/font9.fntdata"/></Relationships>
</file>

<file path=ppt/comments/modernComment_7FF64A63_51E7201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FD93F45D-6064-3E4A-B2CF-34E9A8188ABA}" authorId="{F998D505-F663-3B52-C265-F3A4CF6126AE}" created="2023-09-21T09:13:27.056">
    <pc:sldMkLst xmlns:pc="http://schemas.microsoft.com/office/powerpoint/2013/main/command">
      <pc:docMk/>
      <pc:sldMk cId="1374101535" sldId="2146847331"/>
    </pc:sldMkLst>
    <p188:txBody>
      <a:bodyPr/>
      <a:lstStyle/>
      <a:p>
        <a:r>
          <a:rPr lang="fr-FR"/>
          <a:t>5mn sur cette partie</a:t>
        </a:r>
      </a:p>
    </p188:txBody>
  </p188:cm>
</p188:cmLst>
</file>

<file path=ppt/comments/modernComment_7FF64AE8_B7A61C5F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D3741404-0623-E142-A174-7806F0392406}" authorId="{54DFB574-80DC-3C51-B41F-D24D885696AB}" created="2023-09-22T23:25:45.192">
    <pc:sldMkLst xmlns:pc="http://schemas.microsoft.com/office/powerpoint/2013/main/command">
      <pc:docMk/>
      <pc:sldMk cId="3081116767" sldId="2146847464"/>
    </pc:sldMkLst>
    <p188:txBody>
      <a:bodyPr/>
      <a:lstStyle/>
      <a:p>
        <a:r>
          <a:rPr lang="fr-FR"/>
          <a:t>En le relisant je trouve que le gap est trop grand ici avec ce qu’on leur raconte / leurs enjeux, qui sont très terrain / discussions concrètes, vs. ces éléments qui sont plutôt pour un récit de demain, une vision.
On passerait trop de tps à l’expliquer et ça risque de les paumer.</a:t>
        </a:r>
      </a:p>
    </p188:txBody>
  </p188:cm>
</p188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73D2791-CE57-5B45-8FD5-E2E5BD59BF18}" type="doc">
      <dgm:prSet loTypeId="urn:microsoft.com/office/officeart/2005/8/layout/hList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fr-FR"/>
        </a:p>
      </dgm:t>
    </dgm:pt>
    <dgm:pt modelId="{C422AAC9-3B4C-AC4C-8C09-C59B0A42B737}">
      <dgm:prSet phldrT="[Texte]" custT="1"/>
      <dgm:spPr>
        <a:solidFill>
          <a:srgbClr val="23388A"/>
        </a:solidFill>
        <a:ln>
          <a:noFill/>
        </a:ln>
      </dgm:spPr>
      <dgm:t>
        <a:bodyPr/>
        <a:lstStyle/>
        <a:p>
          <a:r>
            <a:rPr lang="fr-FR" sz="1600" b="1" dirty="0">
              <a:latin typeface="Sailec" pitchFamily="2" charset="77"/>
            </a:rPr>
            <a:t>LE FACTEUR PLAISIR</a:t>
          </a:r>
        </a:p>
      </dgm:t>
    </dgm:pt>
    <dgm:pt modelId="{3D91EBC4-01B2-9448-B29D-E9511BE01463}" type="parTrans" cxnId="{78FB4C7F-83F5-C14E-814F-636AEA9475F2}">
      <dgm:prSet/>
      <dgm:spPr/>
      <dgm:t>
        <a:bodyPr/>
        <a:lstStyle/>
        <a:p>
          <a:endParaRPr lang="fr-FR"/>
        </a:p>
      </dgm:t>
    </dgm:pt>
    <dgm:pt modelId="{DAD87160-6F03-E446-A3F8-7701654A3498}" type="sibTrans" cxnId="{78FB4C7F-83F5-C14E-814F-636AEA9475F2}">
      <dgm:prSet/>
      <dgm:spPr/>
      <dgm:t>
        <a:bodyPr/>
        <a:lstStyle/>
        <a:p>
          <a:endParaRPr lang="fr-FR"/>
        </a:p>
      </dgm:t>
    </dgm:pt>
    <dgm:pt modelId="{ED8C83FD-E506-F041-93D4-E8A7BDD59C31}">
      <dgm:prSet phldrT="[Texte]"/>
      <dgm:spPr>
        <a:solidFill>
          <a:srgbClr val="17C1E8"/>
        </a:solidFill>
        <a:ln>
          <a:noFill/>
        </a:ln>
      </dgm:spPr>
      <dgm:t>
        <a:bodyPr/>
        <a:lstStyle/>
        <a:p>
          <a:r>
            <a:rPr lang="fr-FR" b="1">
              <a:latin typeface="Sailec"/>
            </a:rPr>
            <a:t>L’APPARTENANCE DE GROUPE</a:t>
          </a:r>
        </a:p>
      </dgm:t>
    </dgm:pt>
    <dgm:pt modelId="{F8F68D87-36D6-CB44-A111-B974E117C560}" type="parTrans" cxnId="{85F9CD01-92E1-3345-A9DA-A20362A2EC26}">
      <dgm:prSet/>
      <dgm:spPr/>
      <dgm:t>
        <a:bodyPr/>
        <a:lstStyle/>
        <a:p>
          <a:endParaRPr lang="fr-FR"/>
        </a:p>
      </dgm:t>
    </dgm:pt>
    <dgm:pt modelId="{6ABBD97D-62AA-5A42-B7A3-1C7C2568B452}" type="sibTrans" cxnId="{85F9CD01-92E1-3345-A9DA-A20362A2EC26}">
      <dgm:prSet/>
      <dgm:spPr/>
      <dgm:t>
        <a:bodyPr/>
        <a:lstStyle/>
        <a:p>
          <a:endParaRPr lang="fr-FR"/>
        </a:p>
      </dgm:t>
    </dgm:pt>
    <dgm:pt modelId="{0E2291B7-EC00-584B-B247-DCC3E6011B45}">
      <dgm:prSet phldrT="[Texte]" custT="1"/>
      <dgm:spPr>
        <a:solidFill>
          <a:srgbClr val="329F5B"/>
        </a:solidFill>
        <a:ln>
          <a:noFill/>
        </a:ln>
      </dgm:spPr>
      <dgm:t>
        <a:bodyPr/>
        <a:lstStyle/>
        <a:p>
          <a:r>
            <a:rPr lang="fr-FR" sz="1200" b="1">
              <a:latin typeface="Sailec" pitchFamily="2" charset="77"/>
            </a:rPr>
            <a:t>LA TRANSGRESSION</a:t>
          </a:r>
        </a:p>
      </dgm:t>
    </dgm:pt>
    <dgm:pt modelId="{F405C6B3-DCDE-3B43-91DA-886371A57AA1}" type="parTrans" cxnId="{137609BA-64D8-7042-B18C-A865DD582A03}">
      <dgm:prSet/>
      <dgm:spPr/>
      <dgm:t>
        <a:bodyPr/>
        <a:lstStyle/>
        <a:p>
          <a:endParaRPr lang="fr-FR"/>
        </a:p>
      </dgm:t>
    </dgm:pt>
    <dgm:pt modelId="{47DA0004-00E1-F744-8C0E-AB2A73875F0C}" type="sibTrans" cxnId="{137609BA-64D8-7042-B18C-A865DD582A03}">
      <dgm:prSet/>
      <dgm:spPr/>
      <dgm:t>
        <a:bodyPr/>
        <a:lstStyle/>
        <a:p>
          <a:endParaRPr lang="fr-FR"/>
        </a:p>
      </dgm:t>
    </dgm:pt>
    <dgm:pt modelId="{61B73128-FB4D-2749-AB70-2AD52321B710}">
      <dgm:prSet custT="1"/>
      <dgm:spPr>
        <a:solidFill>
          <a:srgbClr val="23388A"/>
        </a:solidFill>
        <a:ln>
          <a:noFill/>
        </a:ln>
      </dgm:spPr>
      <dgm:t>
        <a:bodyPr/>
        <a:lstStyle/>
        <a:p>
          <a:r>
            <a:rPr lang="fr-FR" sz="1600" b="1">
              <a:latin typeface="Sailec" pitchFamily="2" charset="77"/>
            </a:rPr>
            <a:t>NARCISSE</a:t>
          </a:r>
        </a:p>
      </dgm:t>
    </dgm:pt>
    <dgm:pt modelId="{F59253BF-75CC-134B-A4ED-1B9FE21E5364}" type="parTrans" cxnId="{DAC1BDE7-CEF7-F847-84AA-21A4B5F71866}">
      <dgm:prSet/>
      <dgm:spPr/>
      <dgm:t>
        <a:bodyPr/>
        <a:lstStyle/>
        <a:p>
          <a:endParaRPr lang="fr-FR"/>
        </a:p>
      </dgm:t>
    </dgm:pt>
    <dgm:pt modelId="{D3C8E7D9-7518-4C48-936E-147C7E91F005}" type="sibTrans" cxnId="{DAC1BDE7-CEF7-F847-84AA-21A4B5F71866}">
      <dgm:prSet/>
      <dgm:spPr/>
      <dgm:t>
        <a:bodyPr/>
        <a:lstStyle/>
        <a:p>
          <a:endParaRPr lang="fr-FR"/>
        </a:p>
      </dgm:t>
    </dgm:pt>
    <dgm:pt modelId="{4AF71029-DEC9-5942-BD2A-10BABFDB3FD4}">
      <dgm:prSet custT="1"/>
      <dgm:spPr>
        <a:solidFill>
          <a:srgbClr val="17C1E8"/>
        </a:solidFill>
        <a:ln>
          <a:noFill/>
        </a:ln>
      </dgm:spPr>
      <dgm:t>
        <a:bodyPr/>
        <a:lstStyle/>
        <a:p>
          <a:r>
            <a:rPr lang="fr-FR" sz="1400" b="1">
              <a:latin typeface="Sailec" pitchFamily="2" charset="77"/>
            </a:rPr>
            <a:t>LES HÉROS IMPROBABLES</a:t>
          </a:r>
        </a:p>
      </dgm:t>
    </dgm:pt>
    <dgm:pt modelId="{6D6EFD25-E655-6247-AA26-2271D00E1713}" type="parTrans" cxnId="{9549D6F6-68B8-534F-87CF-FC1550C702EE}">
      <dgm:prSet/>
      <dgm:spPr/>
      <dgm:t>
        <a:bodyPr/>
        <a:lstStyle/>
        <a:p>
          <a:endParaRPr lang="fr-FR"/>
        </a:p>
      </dgm:t>
    </dgm:pt>
    <dgm:pt modelId="{FEB15EB1-6F3C-9F4F-B5A6-71182A1D1CB4}" type="sibTrans" cxnId="{9549D6F6-68B8-534F-87CF-FC1550C702EE}">
      <dgm:prSet/>
      <dgm:spPr/>
      <dgm:t>
        <a:bodyPr/>
        <a:lstStyle/>
        <a:p>
          <a:endParaRPr lang="fr-FR"/>
        </a:p>
      </dgm:t>
    </dgm:pt>
    <dgm:pt modelId="{15F0E748-7453-8940-8C6B-F36FF08162FF}">
      <dgm:prSet custT="1"/>
      <dgm:spPr>
        <a:solidFill>
          <a:srgbClr val="009F5B"/>
        </a:solidFill>
        <a:ln>
          <a:noFill/>
        </a:ln>
      </dgm:spPr>
      <dgm:t>
        <a:bodyPr/>
        <a:lstStyle/>
        <a:p>
          <a:r>
            <a:rPr lang="fr-FR" sz="1400" b="1">
              <a:latin typeface="Sailec" pitchFamily="2" charset="77"/>
            </a:rPr>
            <a:t>UN AVENIR TANGIBLE</a:t>
          </a:r>
        </a:p>
      </dgm:t>
    </dgm:pt>
    <dgm:pt modelId="{B2A070FD-4C0C-6343-B708-94A6703DD644}" type="parTrans" cxnId="{BB6EC052-2DB4-0B4D-BCFF-F62FE952AB3D}">
      <dgm:prSet/>
      <dgm:spPr/>
      <dgm:t>
        <a:bodyPr/>
        <a:lstStyle/>
        <a:p>
          <a:endParaRPr lang="fr-FR"/>
        </a:p>
      </dgm:t>
    </dgm:pt>
    <dgm:pt modelId="{26A02B47-D282-3343-B27B-CFA3F9DB3731}" type="sibTrans" cxnId="{BB6EC052-2DB4-0B4D-BCFF-F62FE952AB3D}">
      <dgm:prSet/>
      <dgm:spPr/>
      <dgm:t>
        <a:bodyPr/>
        <a:lstStyle/>
        <a:p>
          <a:endParaRPr lang="fr-FR"/>
        </a:p>
      </dgm:t>
    </dgm:pt>
    <dgm:pt modelId="{212BE2F0-585D-AA42-8536-395573A45324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pPr rtl="0">
            <a:buFont typeface="Arial" panose="020B0604020202020204" pitchFamily="34" charset="0"/>
            <a:buChar char="•"/>
          </a:pPr>
          <a:r>
            <a:rPr lang="fr-FR" sz="1400" dirty="0"/>
            <a:t>L’importance des </a:t>
          </a:r>
          <a:r>
            <a:rPr lang="fr-FR" sz="1400" dirty="0">
              <a:latin typeface="Calibri Light" panose="020F0302020204030204"/>
            </a:rPr>
            <a:t>événements </a:t>
          </a:r>
          <a:r>
            <a:rPr lang="fr-FR" sz="1400" dirty="0"/>
            <a:t>collectifs, festifs, fédérateurs, des célébrations.</a:t>
          </a:r>
          <a:r>
            <a:rPr lang="fr-FR" sz="1400" dirty="0">
              <a:latin typeface="Calibri Light" panose="020F0302020204030204"/>
            </a:rPr>
            <a:t> </a:t>
          </a:r>
          <a:endParaRPr lang="fr-FR" sz="1400" dirty="0"/>
        </a:p>
      </dgm:t>
    </dgm:pt>
    <dgm:pt modelId="{5EF6E0A5-7FED-A841-BB35-466A7D9BC6AD}" type="parTrans" cxnId="{DC3EB9D0-7D3D-BF47-9A2A-6912E19849CB}">
      <dgm:prSet/>
      <dgm:spPr/>
      <dgm:t>
        <a:bodyPr/>
        <a:lstStyle/>
        <a:p>
          <a:endParaRPr lang="fr-FR"/>
        </a:p>
      </dgm:t>
    </dgm:pt>
    <dgm:pt modelId="{326BE47E-2EE3-684A-A1D1-55D80FEE615E}" type="sibTrans" cxnId="{DC3EB9D0-7D3D-BF47-9A2A-6912E19849CB}">
      <dgm:prSet/>
      <dgm:spPr/>
      <dgm:t>
        <a:bodyPr/>
        <a:lstStyle/>
        <a:p>
          <a:endParaRPr lang="fr-FR"/>
        </a:p>
      </dgm:t>
    </dgm:pt>
    <dgm:pt modelId="{8C069CE0-4577-F145-AA64-9BA20F16FF33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r>
            <a:rPr lang="fr-FR" sz="1400"/>
            <a:t>Aussi chez les plus désengagés, notamment les Laissés pour compte.</a:t>
          </a:r>
        </a:p>
      </dgm:t>
    </dgm:pt>
    <dgm:pt modelId="{18A4E4B7-3E27-4445-B104-426D2C7E6ADB}" type="parTrans" cxnId="{666077B7-FFCA-E34F-8616-22EE3881FEDE}">
      <dgm:prSet/>
      <dgm:spPr/>
      <dgm:t>
        <a:bodyPr/>
        <a:lstStyle/>
        <a:p>
          <a:endParaRPr lang="fr-FR"/>
        </a:p>
      </dgm:t>
    </dgm:pt>
    <dgm:pt modelId="{CA25F32C-5405-344B-9178-91D5EB184204}" type="sibTrans" cxnId="{666077B7-FFCA-E34F-8616-22EE3881FEDE}">
      <dgm:prSet/>
      <dgm:spPr/>
      <dgm:t>
        <a:bodyPr/>
        <a:lstStyle/>
        <a:p>
          <a:endParaRPr lang="fr-FR"/>
        </a:p>
      </dgm:t>
    </dgm:pt>
    <dgm:pt modelId="{9F0D6B08-7A2F-1746-AB3A-9ABFCB8ABED5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pPr>
            <a:buFont typeface="Arial" panose="020B0604020202020204" pitchFamily="34" charset="0"/>
            <a:buChar char="•"/>
          </a:pPr>
          <a:endParaRPr lang="fr-FR" sz="1400"/>
        </a:p>
      </dgm:t>
    </dgm:pt>
    <dgm:pt modelId="{A6A599C4-3122-E245-B004-77FB2222A667}" type="parTrans" cxnId="{A49ECA6D-2EB5-D24F-A711-9BC011E340D0}">
      <dgm:prSet/>
      <dgm:spPr/>
      <dgm:t>
        <a:bodyPr/>
        <a:lstStyle/>
        <a:p>
          <a:endParaRPr lang="fr-FR"/>
        </a:p>
      </dgm:t>
    </dgm:pt>
    <dgm:pt modelId="{8AA1305E-7696-E342-B028-3F54B74118C3}" type="sibTrans" cxnId="{A49ECA6D-2EB5-D24F-A711-9BC011E340D0}">
      <dgm:prSet/>
      <dgm:spPr/>
      <dgm:t>
        <a:bodyPr/>
        <a:lstStyle/>
        <a:p>
          <a:endParaRPr lang="fr-FR"/>
        </a:p>
      </dgm:t>
    </dgm:pt>
    <dgm:pt modelId="{FEF42E91-84ED-F84C-9C50-523CBCD8A754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 sz="1400"/>
            <a:t>Se reconnaître dans le groupe mobilisé.</a:t>
          </a:r>
        </a:p>
      </dgm:t>
    </dgm:pt>
    <dgm:pt modelId="{1DC41103-286D-344A-88BF-CD2A221C8B44}" type="parTrans" cxnId="{1852F344-96F7-0340-AD83-272F77BDD69A}">
      <dgm:prSet/>
      <dgm:spPr/>
      <dgm:t>
        <a:bodyPr/>
        <a:lstStyle/>
        <a:p>
          <a:endParaRPr lang="fr-FR"/>
        </a:p>
      </dgm:t>
    </dgm:pt>
    <dgm:pt modelId="{F95D7A3A-6445-F845-89AE-ACB349DC89D5}" type="sibTrans" cxnId="{1852F344-96F7-0340-AD83-272F77BDD69A}">
      <dgm:prSet/>
      <dgm:spPr/>
      <dgm:t>
        <a:bodyPr/>
        <a:lstStyle/>
        <a:p>
          <a:endParaRPr lang="fr-FR"/>
        </a:p>
      </dgm:t>
    </dgm:pt>
    <dgm:pt modelId="{4FB1E9D9-0901-8C4E-8909-2CD235D62D52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 sz="1400"/>
            <a:t>Se sentir concerné.</a:t>
          </a:r>
        </a:p>
      </dgm:t>
    </dgm:pt>
    <dgm:pt modelId="{1ADABDD3-95D8-2B47-A940-D8929242F503}" type="parTrans" cxnId="{F8F3876C-51C9-3E44-B5A7-163ECA0E3262}">
      <dgm:prSet/>
      <dgm:spPr/>
      <dgm:t>
        <a:bodyPr/>
        <a:lstStyle/>
        <a:p>
          <a:endParaRPr lang="fr-FR"/>
        </a:p>
      </dgm:t>
    </dgm:pt>
    <dgm:pt modelId="{0A58EEE2-E5F5-5C41-87D6-4A7070CAB2B5}" type="sibTrans" cxnId="{F8F3876C-51C9-3E44-B5A7-163ECA0E3262}">
      <dgm:prSet/>
      <dgm:spPr/>
      <dgm:t>
        <a:bodyPr/>
        <a:lstStyle/>
        <a:p>
          <a:endParaRPr lang="fr-FR"/>
        </a:p>
      </dgm:t>
    </dgm:pt>
    <dgm:pt modelId="{268CD4D6-E601-4942-9E7B-CF285D0A3630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400" dirty="0"/>
        </a:p>
      </dgm:t>
    </dgm:pt>
    <dgm:pt modelId="{B73D629A-D519-A143-ACE4-D50A8E807920}" type="parTrans" cxnId="{83782661-DA5F-9C43-B247-BCFC337C5C40}">
      <dgm:prSet/>
      <dgm:spPr/>
      <dgm:t>
        <a:bodyPr/>
        <a:lstStyle/>
        <a:p>
          <a:endParaRPr lang="fr-FR"/>
        </a:p>
      </dgm:t>
    </dgm:pt>
    <dgm:pt modelId="{51483203-DE24-2047-9F4C-C84E439D396C}" type="sibTrans" cxnId="{83782661-DA5F-9C43-B247-BCFC337C5C40}">
      <dgm:prSet/>
      <dgm:spPr/>
      <dgm:t>
        <a:bodyPr/>
        <a:lstStyle/>
        <a:p>
          <a:endParaRPr lang="fr-FR"/>
        </a:p>
      </dgm:t>
    </dgm:pt>
    <dgm:pt modelId="{D03C0B30-418E-944C-AB46-103164520442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Remise en cause de l’ordre établi, des règles.</a:t>
          </a:r>
        </a:p>
      </dgm:t>
    </dgm:pt>
    <dgm:pt modelId="{08F3BFC6-3A60-6843-A441-D147151ADF5F}" type="parTrans" cxnId="{E7C1BD3F-335A-1447-8D9A-F06F30023320}">
      <dgm:prSet/>
      <dgm:spPr/>
      <dgm:t>
        <a:bodyPr/>
        <a:lstStyle/>
        <a:p>
          <a:endParaRPr lang="fr-FR"/>
        </a:p>
      </dgm:t>
    </dgm:pt>
    <dgm:pt modelId="{3D25761E-3D07-3448-B0DB-1A135E29DFC2}" type="sibTrans" cxnId="{E7C1BD3F-335A-1447-8D9A-F06F30023320}">
      <dgm:prSet/>
      <dgm:spPr/>
      <dgm:t>
        <a:bodyPr/>
        <a:lstStyle/>
        <a:p>
          <a:endParaRPr lang="fr-FR"/>
        </a:p>
      </dgm:t>
    </dgm:pt>
    <dgm:pt modelId="{8FDA3EC1-4BFA-EA40-AD93-A0CA59C94FD4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2ADE9127-55EB-7D42-82F1-C3615F2E1570}" type="parTrans" cxnId="{6D6E2B56-04CD-2A4D-AD21-78ECF806C709}">
      <dgm:prSet/>
      <dgm:spPr/>
      <dgm:t>
        <a:bodyPr/>
        <a:lstStyle/>
        <a:p>
          <a:endParaRPr lang="fr-FR"/>
        </a:p>
      </dgm:t>
    </dgm:pt>
    <dgm:pt modelId="{21815136-5ACE-7542-91C5-161E15E537D9}" type="sibTrans" cxnId="{6D6E2B56-04CD-2A4D-AD21-78ECF806C709}">
      <dgm:prSet/>
      <dgm:spPr/>
      <dgm:t>
        <a:bodyPr/>
        <a:lstStyle/>
        <a:p>
          <a:endParaRPr lang="fr-FR"/>
        </a:p>
      </dgm:t>
    </dgm:pt>
    <dgm:pt modelId="{EF0AB95B-3DD1-3445-89C4-0E84CA0C42C8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46C09767-E9FA-3F45-9EC5-18364EED8339}" type="parTrans" cxnId="{071710A6-30F8-E24A-A20B-014D724A0B52}">
      <dgm:prSet/>
      <dgm:spPr/>
      <dgm:t>
        <a:bodyPr/>
        <a:lstStyle/>
        <a:p>
          <a:endParaRPr lang="fr-FR"/>
        </a:p>
      </dgm:t>
    </dgm:pt>
    <dgm:pt modelId="{D7ADFBF0-9BDB-7248-B5F0-10DFFA3F7782}" type="sibTrans" cxnId="{071710A6-30F8-E24A-A20B-014D724A0B52}">
      <dgm:prSet/>
      <dgm:spPr/>
      <dgm:t>
        <a:bodyPr/>
        <a:lstStyle/>
        <a:p>
          <a:endParaRPr lang="fr-FR"/>
        </a:p>
      </dgm:t>
    </dgm:pt>
    <dgm:pt modelId="{08A2E09F-CF46-F741-8A5A-DA1769D6E19E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06D4BBEC-9F2B-7341-B336-3747B12963ED}" type="parTrans" cxnId="{2979A0D1-6FC2-9147-A9E5-9A88F96B7C68}">
      <dgm:prSet/>
      <dgm:spPr/>
      <dgm:t>
        <a:bodyPr/>
        <a:lstStyle/>
        <a:p>
          <a:endParaRPr lang="fr-FR"/>
        </a:p>
      </dgm:t>
    </dgm:pt>
    <dgm:pt modelId="{5C77AE84-B384-4E4C-8A04-62EA705EEC71}" type="sibTrans" cxnId="{2979A0D1-6FC2-9147-A9E5-9A88F96B7C68}">
      <dgm:prSet/>
      <dgm:spPr/>
      <dgm:t>
        <a:bodyPr/>
        <a:lstStyle/>
        <a:p>
          <a:endParaRPr lang="fr-FR"/>
        </a:p>
      </dgm:t>
    </dgm:pt>
    <dgm:pt modelId="{F35B4CCB-30DB-B741-B617-040CB232764A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400"/>
        </a:p>
      </dgm:t>
    </dgm:pt>
    <dgm:pt modelId="{9432C8A3-65DC-8D48-A408-12117A4A543A}" type="parTrans" cxnId="{4F26B600-4FEB-8D4E-B8A5-D4ABC40A8B49}">
      <dgm:prSet/>
      <dgm:spPr/>
      <dgm:t>
        <a:bodyPr/>
        <a:lstStyle/>
        <a:p>
          <a:endParaRPr lang="fr-FR"/>
        </a:p>
      </dgm:t>
    </dgm:pt>
    <dgm:pt modelId="{13EA2CDD-47E9-EE43-8506-E9CC96F920ED}" type="sibTrans" cxnId="{4F26B600-4FEB-8D4E-B8A5-D4ABC40A8B49}">
      <dgm:prSet/>
      <dgm:spPr/>
      <dgm:t>
        <a:bodyPr/>
        <a:lstStyle/>
        <a:p>
          <a:endParaRPr lang="fr-FR"/>
        </a:p>
      </dgm:t>
    </dgm:pt>
    <dgm:pt modelId="{185EEB6F-142A-4549-A735-122DFABF193E}">
      <dgm:prSet custT="1"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 sz="1400"/>
        </a:p>
      </dgm:t>
    </dgm:pt>
    <dgm:pt modelId="{ADB93787-74C9-A943-B2AC-3E0AE0FD5C5B}" type="parTrans" cxnId="{0BCE0D64-0A1E-3B48-814B-1EBA640D901D}">
      <dgm:prSet/>
      <dgm:spPr/>
      <dgm:t>
        <a:bodyPr/>
        <a:lstStyle/>
        <a:p>
          <a:endParaRPr lang="fr-FR"/>
        </a:p>
      </dgm:t>
    </dgm:pt>
    <dgm:pt modelId="{6144D7D1-9B26-5B4B-8801-1409991FCC60}" type="sibTrans" cxnId="{0BCE0D64-0A1E-3B48-814B-1EBA640D901D}">
      <dgm:prSet/>
      <dgm:spPr/>
      <dgm:t>
        <a:bodyPr/>
        <a:lstStyle/>
        <a:p>
          <a:endParaRPr lang="fr-FR"/>
        </a:p>
      </dgm:t>
    </dgm:pt>
    <dgm:pt modelId="{B179E2DA-15A9-304C-B373-75DE8713762D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Utiliser la culture du selfie, de la mise en scène de soi, l’aspiration généralisée à être « acteur de son propre film ».</a:t>
          </a:r>
        </a:p>
      </dgm:t>
    </dgm:pt>
    <dgm:pt modelId="{80BDDE57-91EE-A849-8EFF-B120A5CCD0B3}" type="parTrans" cxnId="{A0889B78-66BF-6D45-B3AE-887ECAF6715B}">
      <dgm:prSet/>
      <dgm:spPr/>
      <dgm:t>
        <a:bodyPr/>
        <a:lstStyle/>
        <a:p>
          <a:endParaRPr lang="fr-FR"/>
        </a:p>
      </dgm:t>
    </dgm:pt>
    <dgm:pt modelId="{65601B0C-7BBA-EF47-A307-2C976817FBCB}" type="sibTrans" cxnId="{A0889B78-66BF-6D45-B3AE-887ECAF6715B}">
      <dgm:prSet/>
      <dgm:spPr/>
      <dgm:t>
        <a:bodyPr/>
        <a:lstStyle/>
        <a:p>
          <a:endParaRPr lang="fr-FR"/>
        </a:p>
      </dgm:t>
    </dgm:pt>
    <dgm:pt modelId="{F3EBB553-A782-6B4E-A112-54CD98FD45B9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Valoriser l’engagement et le rôle, le pouvoir de chacun.</a:t>
          </a:r>
        </a:p>
      </dgm:t>
    </dgm:pt>
    <dgm:pt modelId="{7A31C02D-7669-7B42-A0B9-C6923F97D0EB}" type="parTrans" cxnId="{F7DC7103-1570-C344-AC46-79E3366E2870}">
      <dgm:prSet/>
      <dgm:spPr/>
      <dgm:t>
        <a:bodyPr/>
        <a:lstStyle/>
        <a:p>
          <a:endParaRPr lang="fr-FR"/>
        </a:p>
      </dgm:t>
    </dgm:pt>
    <dgm:pt modelId="{D9B169A1-8E58-ED4D-84C0-695E608BAA29}" type="sibTrans" cxnId="{F7DC7103-1570-C344-AC46-79E3366E2870}">
      <dgm:prSet/>
      <dgm:spPr/>
      <dgm:t>
        <a:bodyPr/>
        <a:lstStyle/>
        <a:p>
          <a:endParaRPr lang="fr-FR"/>
        </a:p>
      </dgm:t>
    </dgm:pt>
    <dgm:pt modelId="{CBD49D4C-60CF-CA4E-80C2-AEA422B04DA5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48FFFA1D-6924-854B-8230-D401C36539C3}" type="parTrans" cxnId="{AE359CD1-A11D-CA47-97B6-B893C67B6DE9}">
      <dgm:prSet/>
      <dgm:spPr/>
      <dgm:t>
        <a:bodyPr/>
        <a:lstStyle/>
        <a:p>
          <a:endParaRPr lang="fr-FR"/>
        </a:p>
      </dgm:t>
    </dgm:pt>
    <dgm:pt modelId="{ECC3C7D1-0235-9B44-848A-A7935CA670A1}" type="sibTrans" cxnId="{AE359CD1-A11D-CA47-97B6-B893C67B6DE9}">
      <dgm:prSet/>
      <dgm:spPr/>
      <dgm:t>
        <a:bodyPr/>
        <a:lstStyle/>
        <a:p>
          <a:endParaRPr lang="fr-FR"/>
        </a:p>
      </dgm:t>
    </dgm:pt>
    <dgm:pt modelId="{0AD6F729-7FB6-A14B-BAE2-71898393E761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Fait écho à la nécessité de la reconnaissance.</a:t>
          </a:r>
        </a:p>
      </dgm:t>
    </dgm:pt>
    <dgm:pt modelId="{4DBF7768-3357-0F40-835E-10FABD8A0985}" type="parTrans" cxnId="{CA3E6851-780A-4E4C-B697-DCBA4ABAE545}">
      <dgm:prSet/>
      <dgm:spPr/>
      <dgm:t>
        <a:bodyPr/>
        <a:lstStyle/>
        <a:p>
          <a:endParaRPr lang="fr-FR"/>
        </a:p>
      </dgm:t>
    </dgm:pt>
    <dgm:pt modelId="{92EDE56E-C9B2-964A-87C7-C89FEB66CDFF}" type="sibTrans" cxnId="{CA3E6851-780A-4E4C-B697-DCBA4ABAE545}">
      <dgm:prSet/>
      <dgm:spPr/>
      <dgm:t>
        <a:bodyPr/>
        <a:lstStyle/>
        <a:p>
          <a:endParaRPr lang="fr-FR"/>
        </a:p>
      </dgm:t>
    </dgm:pt>
    <dgm:pt modelId="{3941565F-A29D-0E46-9181-064BF050E684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4A8A72FD-D312-A440-835D-4524F472ADFA}" type="parTrans" cxnId="{E514A542-4111-F14C-84BC-443B6F058E6E}">
      <dgm:prSet/>
      <dgm:spPr/>
      <dgm:t>
        <a:bodyPr/>
        <a:lstStyle/>
        <a:p>
          <a:endParaRPr lang="fr-FR"/>
        </a:p>
      </dgm:t>
    </dgm:pt>
    <dgm:pt modelId="{6ECFCE0A-D060-DB44-BE46-CD630210F60E}" type="sibTrans" cxnId="{E514A542-4111-F14C-84BC-443B6F058E6E}">
      <dgm:prSet/>
      <dgm:spPr/>
      <dgm:t>
        <a:bodyPr/>
        <a:lstStyle/>
        <a:p>
          <a:endParaRPr lang="fr-FR"/>
        </a:p>
      </dgm:t>
    </dgm:pt>
    <dgm:pt modelId="{ECB984C3-DA2A-B247-A36D-385F6D584393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Le messager est tout aussi important que l’histoire racontée.</a:t>
          </a:r>
        </a:p>
      </dgm:t>
    </dgm:pt>
    <dgm:pt modelId="{2C687D61-EE09-8E45-A9CD-847F4802F8BB}" type="parTrans" cxnId="{D45E44B9-9932-9044-89AB-108A950889E4}">
      <dgm:prSet/>
      <dgm:spPr/>
      <dgm:t>
        <a:bodyPr/>
        <a:lstStyle/>
        <a:p>
          <a:endParaRPr lang="fr-FR"/>
        </a:p>
      </dgm:t>
    </dgm:pt>
    <dgm:pt modelId="{64B65BF7-8209-4F4E-973A-9059B1F485FF}" type="sibTrans" cxnId="{D45E44B9-9932-9044-89AB-108A950889E4}">
      <dgm:prSet/>
      <dgm:spPr/>
      <dgm:t>
        <a:bodyPr/>
        <a:lstStyle/>
        <a:p>
          <a:endParaRPr lang="fr-FR"/>
        </a:p>
      </dgm:t>
    </dgm:pt>
    <dgm:pt modelId="{9E4D7D06-A2FC-8B45-A35C-FF023A310A34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L’importance de choisir son émetteur, son incarnation.</a:t>
          </a:r>
        </a:p>
      </dgm:t>
    </dgm:pt>
    <dgm:pt modelId="{C550804C-E3BB-CF4C-A24A-4D23392E2AA4}" type="parTrans" cxnId="{B1A5DB56-25A5-2E49-9E76-3B2FAD4A7D51}">
      <dgm:prSet/>
      <dgm:spPr/>
      <dgm:t>
        <a:bodyPr/>
        <a:lstStyle/>
        <a:p>
          <a:endParaRPr lang="fr-FR"/>
        </a:p>
      </dgm:t>
    </dgm:pt>
    <dgm:pt modelId="{221F839C-5E1B-B746-8C56-5CF6EC578851}" type="sibTrans" cxnId="{B1A5DB56-25A5-2E49-9E76-3B2FAD4A7D51}">
      <dgm:prSet/>
      <dgm:spPr/>
      <dgm:t>
        <a:bodyPr/>
        <a:lstStyle/>
        <a:p>
          <a:endParaRPr lang="fr-FR"/>
        </a:p>
      </dgm:t>
    </dgm:pt>
    <dgm:pt modelId="{31BB76EC-7EE9-AB4E-B762-124ED6C729DB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8F86D53D-7D42-C344-BB9E-C0B2419E7119}" type="parTrans" cxnId="{3899C4C8-5B3F-554E-85D8-2218F636902E}">
      <dgm:prSet/>
      <dgm:spPr/>
      <dgm:t>
        <a:bodyPr/>
        <a:lstStyle/>
        <a:p>
          <a:endParaRPr lang="fr-FR"/>
        </a:p>
      </dgm:t>
    </dgm:pt>
    <dgm:pt modelId="{7F05D0DC-67D1-0B4C-A860-9581D5B942D0}" type="sibTrans" cxnId="{3899C4C8-5B3F-554E-85D8-2218F636902E}">
      <dgm:prSet/>
      <dgm:spPr/>
      <dgm:t>
        <a:bodyPr/>
        <a:lstStyle/>
        <a:p>
          <a:endParaRPr lang="fr-FR"/>
        </a:p>
      </dgm:t>
    </dgm:pt>
    <dgm:pt modelId="{8921EE94-65C6-A247-B5E5-1B6DA2925BDB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L’importance des histoires personnelles, incarnées : les héros ordinaires de notre quotidien. Des héros que nous pouvons être.</a:t>
          </a:r>
        </a:p>
      </dgm:t>
    </dgm:pt>
    <dgm:pt modelId="{2F85C9D2-B85A-3548-B478-0C67994F70AC}" type="parTrans" cxnId="{94FEE083-FBAA-8D47-9DE2-7102BE79A741}">
      <dgm:prSet/>
      <dgm:spPr/>
      <dgm:t>
        <a:bodyPr/>
        <a:lstStyle/>
        <a:p>
          <a:endParaRPr lang="fr-FR"/>
        </a:p>
      </dgm:t>
    </dgm:pt>
    <dgm:pt modelId="{A0F5B8BC-4B2E-D646-A622-3D6AE3B18244}" type="sibTrans" cxnId="{94FEE083-FBAA-8D47-9DE2-7102BE79A741}">
      <dgm:prSet/>
      <dgm:spPr/>
      <dgm:t>
        <a:bodyPr/>
        <a:lstStyle/>
        <a:p>
          <a:endParaRPr lang="fr-FR"/>
        </a:p>
      </dgm:t>
    </dgm:pt>
    <dgm:pt modelId="{166F1747-D14C-794B-A51D-0833F90187FA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5E04C606-7727-5E49-91D9-99A654D5AAA8}" type="parTrans" cxnId="{5536109B-629A-CC45-84CE-5C6095DEB91B}">
      <dgm:prSet/>
      <dgm:spPr/>
      <dgm:t>
        <a:bodyPr/>
        <a:lstStyle/>
        <a:p>
          <a:endParaRPr lang="fr-FR"/>
        </a:p>
      </dgm:t>
    </dgm:pt>
    <dgm:pt modelId="{B0DD87EC-2A5F-574A-A0B2-9CBC7D7C51E0}" type="sibTrans" cxnId="{5536109B-629A-CC45-84CE-5C6095DEB91B}">
      <dgm:prSet/>
      <dgm:spPr/>
      <dgm:t>
        <a:bodyPr/>
        <a:lstStyle/>
        <a:p>
          <a:endParaRPr lang="fr-FR"/>
        </a:p>
      </dgm:t>
    </dgm:pt>
    <dgm:pt modelId="{73372D78-54D1-A54B-B426-8C7F0BFFBA13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Rapprocher l’avenir, un avenir que l’on peut toucher.</a:t>
          </a:r>
        </a:p>
      </dgm:t>
    </dgm:pt>
    <dgm:pt modelId="{644F9BD0-DB81-B24F-B04B-5A3153EB0D73}" type="parTrans" cxnId="{AC195A83-A4AB-7C44-A3D4-F9A767FD9CA3}">
      <dgm:prSet/>
      <dgm:spPr/>
      <dgm:t>
        <a:bodyPr/>
        <a:lstStyle/>
        <a:p>
          <a:endParaRPr lang="fr-FR"/>
        </a:p>
      </dgm:t>
    </dgm:pt>
    <dgm:pt modelId="{B7AC7C47-F1F8-9149-8ACC-ADB54591AF95}" type="sibTrans" cxnId="{AC195A83-A4AB-7C44-A3D4-F9A767FD9CA3}">
      <dgm:prSet/>
      <dgm:spPr/>
      <dgm:t>
        <a:bodyPr/>
        <a:lstStyle/>
        <a:p>
          <a:endParaRPr lang="fr-FR"/>
        </a:p>
      </dgm:t>
    </dgm:pt>
    <dgm:pt modelId="{0B5483BE-7D5D-6045-86F6-A92BA9BB1E6A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Inscrire l’engagement et les changements portés dans le quotidien pour le rendre accessible et lisible. </a:t>
          </a:r>
        </a:p>
      </dgm:t>
    </dgm:pt>
    <dgm:pt modelId="{B94E6369-C537-D843-B626-684867BB052D}" type="parTrans" cxnId="{9139D549-AF37-6F4C-B8CC-BE0B1C1F9C8F}">
      <dgm:prSet/>
      <dgm:spPr/>
      <dgm:t>
        <a:bodyPr/>
        <a:lstStyle/>
        <a:p>
          <a:endParaRPr lang="fr-FR"/>
        </a:p>
      </dgm:t>
    </dgm:pt>
    <dgm:pt modelId="{E5F3D48A-E7FC-1541-8EE5-A0248BF7895E}" type="sibTrans" cxnId="{9139D549-AF37-6F4C-B8CC-BE0B1C1F9C8F}">
      <dgm:prSet/>
      <dgm:spPr/>
      <dgm:t>
        <a:bodyPr/>
        <a:lstStyle/>
        <a:p>
          <a:endParaRPr lang="fr-FR"/>
        </a:p>
      </dgm:t>
    </dgm:pt>
    <dgm:pt modelId="{B5AC0E8D-0B8F-2740-928D-95F2BCAF7404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2A501489-DF30-5C44-B051-40660850D9A6}" type="parTrans" cxnId="{71BB9E0B-323F-1C48-92A3-FE548E3AFB6C}">
      <dgm:prSet/>
      <dgm:spPr/>
      <dgm:t>
        <a:bodyPr/>
        <a:lstStyle/>
        <a:p>
          <a:endParaRPr lang="fr-FR"/>
        </a:p>
      </dgm:t>
    </dgm:pt>
    <dgm:pt modelId="{34454739-3FEF-1544-AD19-0A95BF2833B6}" type="sibTrans" cxnId="{71BB9E0B-323F-1C48-92A3-FE548E3AFB6C}">
      <dgm:prSet/>
      <dgm:spPr/>
      <dgm:t>
        <a:bodyPr/>
        <a:lstStyle/>
        <a:p>
          <a:endParaRPr lang="fr-FR"/>
        </a:p>
      </dgm:t>
    </dgm:pt>
    <dgm:pt modelId="{EF9FC1D8-D835-9B43-8013-A19729D9F47A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fr-FR">
              <a:latin typeface="Sailec" pitchFamily="2" charset="77"/>
            </a:rPr>
            <a:t>Donner vie au futur, au changement, ici et maintenant. </a:t>
          </a:r>
        </a:p>
      </dgm:t>
    </dgm:pt>
    <dgm:pt modelId="{FB817711-D326-3B4A-8B79-67537F13FA9C}" type="parTrans" cxnId="{1B39A88C-AA65-C443-A25F-EDEC8929022F}">
      <dgm:prSet/>
      <dgm:spPr/>
      <dgm:t>
        <a:bodyPr/>
        <a:lstStyle/>
        <a:p>
          <a:endParaRPr lang="fr-FR"/>
        </a:p>
      </dgm:t>
    </dgm:pt>
    <dgm:pt modelId="{77B790DC-8188-7A49-85E4-F7F35F39867F}" type="sibTrans" cxnId="{1B39A88C-AA65-C443-A25F-EDEC8929022F}">
      <dgm:prSet/>
      <dgm:spPr/>
      <dgm:t>
        <a:bodyPr/>
        <a:lstStyle/>
        <a:p>
          <a:endParaRPr lang="fr-FR"/>
        </a:p>
      </dgm:t>
    </dgm:pt>
    <dgm:pt modelId="{FBBAF03F-E413-2E42-8782-34AA36620D6E}">
      <dgm:prSet/>
      <dgm:spPr>
        <a:solidFill>
          <a:schemeClr val="accent3">
            <a:lumMod val="20000"/>
            <a:lumOff val="80000"/>
            <a:alpha val="90000"/>
          </a:schemeClr>
        </a:solidFill>
      </dgm:spPr>
      <dgm:t>
        <a:bodyPr/>
        <a:lstStyle/>
        <a:p>
          <a:endParaRPr lang="fr-FR">
            <a:latin typeface="Sailec" pitchFamily="2" charset="77"/>
          </a:endParaRPr>
        </a:p>
      </dgm:t>
    </dgm:pt>
    <dgm:pt modelId="{42A462F0-8A8F-ED4C-B4EF-BC5DE3D2E3BB}" type="parTrans" cxnId="{7AF34A15-A6CF-9343-9381-2F422A15375B}">
      <dgm:prSet/>
      <dgm:spPr/>
      <dgm:t>
        <a:bodyPr/>
        <a:lstStyle/>
        <a:p>
          <a:endParaRPr lang="fr-FR"/>
        </a:p>
      </dgm:t>
    </dgm:pt>
    <dgm:pt modelId="{A48B1BE4-FC20-9D4D-A373-FF60E9EF05F9}" type="sibTrans" cxnId="{7AF34A15-A6CF-9343-9381-2F422A15375B}">
      <dgm:prSet/>
      <dgm:spPr/>
      <dgm:t>
        <a:bodyPr/>
        <a:lstStyle/>
        <a:p>
          <a:endParaRPr lang="fr-FR"/>
        </a:p>
      </dgm:t>
    </dgm:pt>
    <dgm:pt modelId="{33A31804-28E5-374A-8CCF-E48D9B8D10E2}" type="pres">
      <dgm:prSet presAssocID="{073D2791-CE57-5B45-8FD5-E2E5BD59BF18}" presName="Name0" presStyleCnt="0">
        <dgm:presLayoutVars>
          <dgm:dir/>
          <dgm:animLvl val="lvl"/>
          <dgm:resizeHandles val="exact"/>
        </dgm:presLayoutVars>
      </dgm:prSet>
      <dgm:spPr/>
    </dgm:pt>
    <dgm:pt modelId="{72A965B3-5A65-9B42-99BD-CF96676FEA60}" type="pres">
      <dgm:prSet presAssocID="{C422AAC9-3B4C-AC4C-8C09-C59B0A42B737}" presName="composite" presStyleCnt="0"/>
      <dgm:spPr/>
    </dgm:pt>
    <dgm:pt modelId="{2762D8C6-843C-4D45-B26F-E9BEE8122C33}" type="pres">
      <dgm:prSet presAssocID="{C422AAC9-3B4C-AC4C-8C09-C59B0A42B737}" presName="parTx" presStyleLbl="alignNode1" presStyleIdx="0" presStyleCnt="6">
        <dgm:presLayoutVars>
          <dgm:chMax val="0"/>
          <dgm:chPref val="0"/>
          <dgm:bulletEnabled val="1"/>
        </dgm:presLayoutVars>
      </dgm:prSet>
      <dgm:spPr/>
    </dgm:pt>
    <dgm:pt modelId="{3CC84B50-8E3A-A04D-8A9F-3152DD3AA1FB}" type="pres">
      <dgm:prSet presAssocID="{C422AAC9-3B4C-AC4C-8C09-C59B0A42B737}" presName="desTx" presStyleLbl="alignAccFollowNode1" presStyleIdx="0" presStyleCnt="6">
        <dgm:presLayoutVars>
          <dgm:bulletEnabled val="1"/>
        </dgm:presLayoutVars>
      </dgm:prSet>
      <dgm:spPr/>
    </dgm:pt>
    <dgm:pt modelId="{330B3882-1EC1-E14F-B34D-4ECE216B0B06}" type="pres">
      <dgm:prSet presAssocID="{DAD87160-6F03-E446-A3F8-7701654A3498}" presName="space" presStyleCnt="0"/>
      <dgm:spPr/>
    </dgm:pt>
    <dgm:pt modelId="{503ABF95-B121-6E46-B687-00172037631B}" type="pres">
      <dgm:prSet presAssocID="{ED8C83FD-E506-F041-93D4-E8A7BDD59C31}" presName="composite" presStyleCnt="0"/>
      <dgm:spPr/>
    </dgm:pt>
    <dgm:pt modelId="{1D695675-348D-0748-9BBB-A70D7F4A5E66}" type="pres">
      <dgm:prSet presAssocID="{ED8C83FD-E506-F041-93D4-E8A7BDD59C31}" presName="parTx" presStyleLbl="alignNode1" presStyleIdx="1" presStyleCnt="6" custScaleY="124278">
        <dgm:presLayoutVars>
          <dgm:chMax val="0"/>
          <dgm:chPref val="0"/>
          <dgm:bulletEnabled val="1"/>
        </dgm:presLayoutVars>
      </dgm:prSet>
      <dgm:spPr/>
    </dgm:pt>
    <dgm:pt modelId="{D23A04DD-8006-3A4D-8713-79DAB60251A9}" type="pres">
      <dgm:prSet presAssocID="{ED8C83FD-E506-F041-93D4-E8A7BDD59C31}" presName="desTx" presStyleLbl="alignAccFollowNode1" presStyleIdx="1" presStyleCnt="6">
        <dgm:presLayoutVars>
          <dgm:bulletEnabled val="1"/>
        </dgm:presLayoutVars>
      </dgm:prSet>
      <dgm:spPr/>
    </dgm:pt>
    <dgm:pt modelId="{0628EB48-327E-5546-919E-52F725D4F84B}" type="pres">
      <dgm:prSet presAssocID="{6ABBD97D-62AA-5A42-B7A3-1C7C2568B452}" presName="space" presStyleCnt="0"/>
      <dgm:spPr/>
    </dgm:pt>
    <dgm:pt modelId="{9091DA94-5713-4549-B34D-25661FD95A6A}" type="pres">
      <dgm:prSet presAssocID="{0E2291B7-EC00-584B-B247-DCC3E6011B45}" presName="composite" presStyleCnt="0"/>
      <dgm:spPr/>
    </dgm:pt>
    <dgm:pt modelId="{D5F02457-AC24-8F47-AD54-EE7244800834}" type="pres">
      <dgm:prSet presAssocID="{0E2291B7-EC00-584B-B247-DCC3E6011B45}" presName="parTx" presStyleLbl="alignNode1" presStyleIdx="2" presStyleCnt="6">
        <dgm:presLayoutVars>
          <dgm:chMax val="0"/>
          <dgm:chPref val="0"/>
          <dgm:bulletEnabled val="1"/>
        </dgm:presLayoutVars>
      </dgm:prSet>
      <dgm:spPr/>
    </dgm:pt>
    <dgm:pt modelId="{EE2D57BB-5CDD-EF40-AC01-7D9F2B1E6232}" type="pres">
      <dgm:prSet presAssocID="{0E2291B7-EC00-584B-B247-DCC3E6011B45}" presName="desTx" presStyleLbl="alignAccFollowNode1" presStyleIdx="2" presStyleCnt="6">
        <dgm:presLayoutVars>
          <dgm:bulletEnabled val="1"/>
        </dgm:presLayoutVars>
      </dgm:prSet>
      <dgm:spPr/>
    </dgm:pt>
    <dgm:pt modelId="{F6E5D42B-7FD7-FF47-B9C2-B6A286D0DE14}" type="pres">
      <dgm:prSet presAssocID="{47DA0004-00E1-F744-8C0E-AB2A73875F0C}" presName="space" presStyleCnt="0"/>
      <dgm:spPr/>
    </dgm:pt>
    <dgm:pt modelId="{3AC272A4-8BDC-1444-9745-CC97217598EB}" type="pres">
      <dgm:prSet presAssocID="{61B73128-FB4D-2749-AB70-2AD52321B710}" presName="composite" presStyleCnt="0"/>
      <dgm:spPr/>
    </dgm:pt>
    <dgm:pt modelId="{C101659A-6BD8-9840-BC99-3B152954B348}" type="pres">
      <dgm:prSet presAssocID="{61B73128-FB4D-2749-AB70-2AD52321B710}" presName="parTx" presStyleLbl="alignNode1" presStyleIdx="3" presStyleCnt="6">
        <dgm:presLayoutVars>
          <dgm:chMax val="0"/>
          <dgm:chPref val="0"/>
          <dgm:bulletEnabled val="1"/>
        </dgm:presLayoutVars>
      </dgm:prSet>
      <dgm:spPr/>
    </dgm:pt>
    <dgm:pt modelId="{0C351331-AAD5-1D46-9CFA-8909831DF4F6}" type="pres">
      <dgm:prSet presAssocID="{61B73128-FB4D-2749-AB70-2AD52321B710}" presName="desTx" presStyleLbl="alignAccFollowNode1" presStyleIdx="3" presStyleCnt="6">
        <dgm:presLayoutVars>
          <dgm:bulletEnabled val="1"/>
        </dgm:presLayoutVars>
      </dgm:prSet>
      <dgm:spPr/>
    </dgm:pt>
    <dgm:pt modelId="{6A6CB750-8662-DE4D-86E7-123CE5D13375}" type="pres">
      <dgm:prSet presAssocID="{D3C8E7D9-7518-4C48-936E-147C7E91F005}" presName="space" presStyleCnt="0"/>
      <dgm:spPr/>
    </dgm:pt>
    <dgm:pt modelId="{3837929D-4D4A-024F-A89C-F9B7F42BBD7C}" type="pres">
      <dgm:prSet presAssocID="{4AF71029-DEC9-5942-BD2A-10BABFDB3FD4}" presName="composite" presStyleCnt="0"/>
      <dgm:spPr/>
    </dgm:pt>
    <dgm:pt modelId="{EF845473-8DE6-E547-9ABF-BF38722676EE}" type="pres">
      <dgm:prSet presAssocID="{4AF71029-DEC9-5942-BD2A-10BABFDB3FD4}" presName="parTx" presStyleLbl="alignNode1" presStyleIdx="4" presStyleCnt="6">
        <dgm:presLayoutVars>
          <dgm:chMax val="0"/>
          <dgm:chPref val="0"/>
          <dgm:bulletEnabled val="1"/>
        </dgm:presLayoutVars>
      </dgm:prSet>
      <dgm:spPr/>
    </dgm:pt>
    <dgm:pt modelId="{3120CE1D-9D03-2544-AFD6-A7134A3F3DC2}" type="pres">
      <dgm:prSet presAssocID="{4AF71029-DEC9-5942-BD2A-10BABFDB3FD4}" presName="desTx" presStyleLbl="alignAccFollowNode1" presStyleIdx="4" presStyleCnt="6">
        <dgm:presLayoutVars>
          <dgm:bulletEnabled val="1"/>
        </dgm:presLayoutVars>
      </dgm:prSet>
      <dgm:spPr/>
    </dgm:pt>
    <dgm:pt modelId="{EB2A0EE4-5D19-374B-9964-73813B597CB8}" type="pres">
      <dgm:prSet presAssocID="{FEB15EB1-6F3C-9F4F-B5A6-71182A1D1CB4}" presName="space" presStyleCnt="0"/>
      <dgm:spPr/>
    </dgm:pt>
    <dgm:pt modelId="{4AD635AC-62D7-FF4E-A8BA-111F4FFEEAB3}" type="pres">
      <dgm:prSet presAssocID="{15F0E748-7453-8940-8C6B-F36FF08162FF}" presName="composite" presStyleCnt="0"/>
      <dgm:spPr/>
    </dgm:pt>
    <dgm:pt modelId="{08536009-6204-BE45-8A0E-72794E81E737}" type="pres">
      <dgm:prSet presAssocID="{15F0E748-7453-8940-8C6B-F36FF08162FF}" presName="parTx" presStyleLbl="alignNode1" presStyleIdx="5" presStyleCnt="6">
        <dgm:presLayoutVars>
          <dgm:chMax val="0"/>
          <dgm:chPref val="0"/>
          <dgm:bulletEnabled val="1"/>
        </dgm:presLayoutVars>
      </dgm:prSet>
      <dgm:spPr/>
    </dgm:pt>
    <dgm:pt modelId="{78735514-20A4-6048-B13B-134240B22980}" type="pres">
      <dgm:prSet presAssocID="{15F0E748-7453-8940-8C6B-F36FF08162FF}" presName="desTx" presStyleLbl="alignAccFollowNode1" presStyleIdx="5" presStyleCnt="6">
        <dgm:presLayoutVars>
          <dgm:bulletEnabled val="1"/>
        </dgm:presLayoutVars>
      </dgm:prSet>
      <dgm:spPr/>
    </dgm:pt>
  </dgm:ptLst>
  <dgm:cxnLst>
    <dgm:cxn modelId="{4F26B600-4FEB-8D4E-B8A5-D4ABC40A8B49}" srcId="{ED8C83FD-E506-F041-93D4-E8A7BDD59C31}" destId="{F35B4CCB-30DB-B741-B617-040CB232764A}" srcOrd="0" destOrd="0" parTransId="{9432C8A3-65DC-8D48-A408-12117A4A543A}" sibTransId="{13EA2CDD-47E9-EE43-8506-E9CC96F920ED}"/>
    <dgm:cxn modelId="{85F9CD01-92E1-3345-A9DA-A20362A2EC26}" srcId="{073D2791-CE57-5B45-8FD5-E2E5BD59BF18}" destId="{ED8C83FD-E506-F041-93D4-E8A7BDD59C31}" srcOrd="1" destOrd="0" parTransId="{F8F68D87-36D6-CB44-A111-B974E117C560}" sibTransId="{6ABBD97D-62AA-5A42-B7A3-1C7C2568B452}"/>
    <dgm:cxn modelId="{F7DC7103-1570-C344-AC46-79E3366E2870}" srcId="{61B73128-FB4D-2749-AB70-2AD52321B710}" destId="{F3EBB553-A782-6B4E-A112-54CD98FD45B9}" srcOrd="2" destOrd="0" parTransId="{7A31C02D-7669-7B42-A0B9-C6923F97D0EB}" sibTransId="{D9B169A1-8E58-ED4D-84C0-695E608BAA29}"/>
    <dgm:cxn modelId="{F62FAA03-A242-E740-BE3E-145DC27F1D27}" type="presOf" srcId="{8C069CE0-4577-F145-AA64-9BA20F16FF33}" destId="{3CC84B50-8E3A-A04D-8A9F-3152DD3AA1FB}" srcOrd="0" destOrd="2" presId="urn:microsoft.com/office/officeart/2005/8/layout/hList1"/>
    <dgm:cxn modelId="{71BB9E0B-323F-1C48-92A3-FE548E3AFB6C}" srcId="{15F0E748-7453-8940-8C6B-F36FF08162FF}" destId="{B5AC0E8D-0B8F-2740-928D-95F2BCAF7404}" srcOrd="1" destOrd="0" parTransId="{2A501489-DF30-5C44-B051-40660850D9A6}" sibTransId="{34454739-3FEF-1544-AD19-0A95BF2833B6}"/>
    <dgm:cxn modelId="{7AF34A15-A6CF-9343-9381-2F422A15375B}" srcId="{15F0E748-7453-8940-8C6B-F36FF08162FF}" destId="{FBBAF03F-E413-2E42-8782-34AA36620D6E}" srcOrd="3" destOrd="0" parTransId="{42A462F0-8A8F-ED4C-B4EF-BC5DE3D2E3BB}" sibTransId="{A48B1BE4-FC20-9D4D-A373-FF60E9EF05F9}"/>
    <dgm:cxn modelId="{74B75317-D060-884E-B467-7A7960944CA7}" type="presOf" srcId="{9E4D7D06-A2FC-8B45-A35C-FF023A310A34}" destId="{3120CE1D-9D03-2544-AFD6-A7134A3F3DC2}" srcOrd="0" destOrd="2" presId="urn:microsoft.com/office/officeart/2005/8/layout/hList1"/>
    <dgm:cxn modelId="{FD0C7819-6283-8C4D-9B35-38AE0B49EB68}" type="presOf" srcId="{ECB984C3-DA2A-B247-A36D-385F6D584393}" destId="{3120CE1D-9D03-2544-AFD6-A7134A3F3DC2}" srcOrd="0" destOrd="0" presId="urn:microsoft.com/office/officeart/2005/8/layout/hList1"/>
    <dgm:cxn modelId="{F0C5A423-EC89-6F4F-B0BE-B0D6C19AB0C2}" type="presOf" srcId="{268CD4D6-E601-4942-9E7B-CF285D0A3630}" destId="{D23A04DD-8006-3A4D-8713-79DAB60251A9}" srcOrd="0" destOrd="3" presId="urn:microsoft.com/office/officeart/2005/8/layout/hList1"/>
    <dgm:cxn modelId="{29352625-FAEF-764F-838B-688987800833}" type="presOf" srcId="{31BB76EC-7EE9-AB4E-B762-124ED6C729DB}" destId="{3120CE1D-9D03-2544-AFD6-A7134A3F3DC2}" srcOrd="0" destOrd="1" presId="urn:microsoft.com/office/officeart/2005/8/layout/hList1"/>
    <dgm:cxn modelId="{8F8A0727-1240-344D-80A7-4C9C85C0B565}" type="presOf" srcId="{0B5483BE-7D5D-6045-86F6-A92BA9BB1E6A}" destId="{78735514-20A4-6048-B13B-134240B22980}" srcOrd="0" destOrd="2" presId="urn:microsoft.com/office/officeart/2005/8/layout/hList1"/>
    <dgm:cxn modelId="{EA71022B-2CA8-B643-9615-35003EF4C224}" type="presOf" srcId="{185EEB6F-142A-4549-A735-122DFABF193E}" destId="{D23A04DD-8006-3A4D-8713-79DAB60251A9}" srcOrd="0" destOrd="1" presId="urn:microsoft.com/office/officeart/2005/8/layout/hList1"/>
    <dgm:cxn modelId="{58B3F531-764E-DE4B-BAAF-96FC76BC8684}" type="presOf" srcId="{4AF71029-DEC9-5942-BD2A-10BABFDB3FD4}" destId="{EF845473-8DE6-E547-9ABF-BF38722676EE}" srcOrd="0" destOrd="0" presId="urn:microsoft.com/office/officeart/2005/8/layout/hList1"/>
    <dgm:cxn modelId="{E7C1BD3F-335A-1447-8D9A-F06F30023320}" srcId="{0E2291B7-EC00-584B-B247-DCC3E6011B45}" destId="{D03C0B30-418E-944C-AB46-103164520442}" srcOrd="3" destOrd="0" parTransId="{08F3BFC6-3A60-6843-A441-D147151ADF5F}" sibTransId="{3D25761E-3D07-3448-B0DB-1A135E29DFC2}"/>
    <dgm:cxn modelId="{E514A542-4111-F14C-84BC-443B6F058E6E}" srcId="{61B73128-FB4D-2749-AB70-2AD52321B710}" destId="{3941565F-A29D-0E46-9181-064BF050E684}" srcOrd="3" destOrd="0" parTransId="{4A8A72FD-D312-A440-835D-4524F472ADFA}" sibTransId="{6ECFCE0A-D060-DB44-BE46-CD630210F60E}"/>
    <dgm:cxn modelId="{1852F344-96F7-0340-AD83-272F77BDD69A}" srcId="{ED8C83FD-E506-F041-93D4-E8A7BDD59C31}" destId="{FEF42E91-84ED-F84C-9C50-523CBCD8A754}" srcOrd="2" destOrd="0" parTransId="{1DC41103-286D-344A-88BF-CD2A221C8B44}" sibTransId="{F95D7A3A-6445-F845-89AE-ACB349DC89D5}"/>
    <dgm:cxn modelId="{9139D549-AF37-6F4C-B8CC-BE0B1C1F9C8F}" srcId="{15F0E748-7453-8940-8C6B-F36FF08162FF}" destId="{0B5483BE-7D5D-6045-86F6-A92BA9BB1E6A}" srcOrd="2" destOrd="0" parTransId="{B94E6369-C537-D843-B626-684867BB052D}" sibTransId="{E5F3D48A-E7FC-1541-8EE5-A0248BF7895E}"/>
    <dgm:cxn modelId="{A79E744A-0F01-C64B-844E-EDF3F3FA375E}" type="presOf" srcId="{166F1747-D14C-794B-A51D-0833F90187FA}" destId="{3120CE1D-9D03-2544-AFD6-A7134A3F3DC2}" srcOrd="0" destOrd="3" presId="urn:microsoft.com/office/officeart/2005/8/layout/hList1"/>
    <dgm:cxn modelId="{CA3E6851-780A-4E4C-B697-DCBA4ABAE545}" srcId="{61B73128-FB4D-2749-AB70-2AD52321B710}" destId="{0AD6F729-7FB6-A14B-BAE2-71898393E761}" srcOrd="4" destOrd="0" parTransId="{4DBF7768-3357-0F40-835E-10FABD8A0985}" sibTransId="{92EDE56E-C9B2-964A-87C7-C89FEB66CDFF}"/>
    <dgm:cxn modelId="{BB6EC052-2DB4-0B4D-BCFF-F62FE952AB3D}" srcId="{073D2791-CE57-5B45-8FD5-E2E5BD59BF18}" destId="{15F0E748-7453-8940-8C6B-F36FF08162FF}" srcOrd="5" destOrd="0" parTransId="{B2A070FD-4C0C-6343-B708-94A6703DD644}" sibTransId="{26A02B47-D282-3343-B27B-CFA3F9DB3731}"/>
    <dgm:cxn modelId="{6D6E2B56-04CD-2A4D-AD21-78ECF806C709}" srcId="{0E2291B7-EC00-584B-B247-DCC3E6011B45}" destId="{8FDA3EC1-4BFA-EA40-AD93-A0CA59C94FD4}" srcOrd="0" destOrd="0" parTransId="{2ADE9127-55EB-7D42-82F1-C3615F2E1570}" sibTransId="{21815136-5ACE-7542-91C5-161E15E537D9}"/>
    <dgm:cxn modelId="{B1A5DB56-25A5-2E49-9E76-3B2FAD4A7D51}" srcId="{4AF71029-DEC9-5942-BD2A-10BABFDB3FD4}" destId="{9E4D7D06-A2FC-8B45-A35C-FF023A310A34}" srcOrd="2" destOrd="0" parTransId="{C550804C-E3BB-CF4C-A24A-4D23392E2AA4}" sibTransId="{221F839C-5E1B-B746-8C56-5CF6EC578851}"/>
    <dgm:cxn modelId="{83782661-DA5F-9C43-B247-BCFC337C5C40}" srcId="{ED8C83FD-E506-F041-93D4-E8A7BDD59C31}" destId="{268CD4D6-E601-4942-9E7B-CF285D0A3630}" srcOrd="3" destOrd="0" parTransId="{B73D629A-D519-A143-ACE4-D50A8E807920}" sibTransId="{51483203-DE24-2047-9F4C-C84E439D396C}"/>
    <dgm:cxn modelId="{0BCE0D64-0A1E-3B48-814B-1EBA640D901D}" srcId="{ED8C83FD-E506-F041-93D4-E8A7BDD59C31}" destId="{185EEB6F-142A-4549-A735-122DFABF193E}" srcOrd="1" destOrd="0" parTransId="{ADB93787-74C9-A943-B2AC-3E0AE0FD5C5B}" sibTransId="{6144D7D1-9B26-5B4B-8801-1409991FCC60}"/>
    <dgm:cxn modelId="{A822146C-F243-BE48-827C-F8A09E71CB79}" type="presOf" srcId="{3941565F-A29D-0E46-9181-064BF050E684}" destId="{0C351331-AAD5-1D46-9CFA-8909831DF4F6}" srcOrd="0" destOrd="3" presId="urn:microsoft.com/office/officeart/2005/8/layout/hList1"/>
    <dgm:cxn modelId="{F8F3876C-51C9-3E44-B5A7-163ECA0E3262}" srcId="{ED8C83FD-E506-F041-93D4-E8A7BDD59C31}" destId="{4FB1E9D9-0901-8C4E-8909-2CD235D62D52}" srcOrd="4" destOrd="0" parTransId="{1ADABDD3-95D8-2B47-A940-D8929242F503}" sibTransId="{0A58EEE2-E5F5-5C41-87D6-4A7070CAB2B5}"/>
    <dgm:cxn modelId="{A49ECA6D-2EB5-D24F-A711-9BC011E340D0}" srcId="{C422AAC9-3B4C-AC4C-8C09-C59B0A42B737}" destId="{9F0D6B08-7A2F-1746-AB3A-9ABFCB8ABED5}" srcOrd="1" destOrd="0" parTransId="{A6A599C4-3122-E245-B004-77FB2222A667}" sibTransId="{8AA1305E-7696-E342-B028-3F54B74118C3}"/>
    <dgm:cxn modelId="{A0889B78-66BF-6D45-B3AE-887ECAF6715B}" srcId="{61B73128-FB4D-2749-AB70-2AD52321B710}" destId="{B179E2DA-15A9-304C-B373-75DE8713762D}" srcOrd="0" destOrd="0" parTransId="{80BDDE57-91EE-A849-8EFF-B120A5CCD0B3}" sibTransId="{65601B0C-7BBA-EF47-A307-2C976817FBCB}"/>
    <dgm:cxn modelId="{B2CE277D-29D9-D644-B068-4AE43355BD81}" type="presOf" srcId="{8921EE94-65C6-A247-B5E5-1B6DA2925BDB}" destId="{3120CE1D-9D03-2544-AFD6-A7134A3F3DC2}" srcOrd="0" destOrd="4" presId="urn:microsoft.com/office/officeart/2005/8/layout/hList1"/>
    <dgm:cxn modelId="{0048A87E-00DC-E747-8134-13F683C34EAD}" type="presOf" srcId="{4FB1E9D9-0901-8C4E-8909-2CD235D62D52}" destId="{D23A04DD-8006-3A4D-8713-79DAB60251A9}" srcOrd="0" destOrd="4" presId="urn:microsoft.com/office/officeart/2005/8/layout/hList1"/>
    <dgm:cxn modelId="{78FB4C7F-83F5-C14E-814F-636AEA9475F2}" srcId="{073D2791-CE57-5B45-8FD5-E2E5BD59BF18}" destId="{C422AAC9-3B4C-AC4C-8C09-C59B0A42B737}" srcOrd="0" destOrd="0" parTransId="{3D91EBC4-01B2-9448-B29D-E9511BE01463}" sibTransId="{DAD87160-6F03-E446-A3F8-7701654A3498}"/>
    <dgm:cxn modelId="{70733E81-E817-8F42-A85D-9F9D8745EA00}" type="presOf" srcId="{EF9FC1D8-D835-9B43-8013-A19729D9F47A}" destId="{78735514-20A4-6048-B13B-134240B22980}" srcOrd="0" destOrd="4" presId="urn:microsoft.com/office/officeart/2005/8/layout/hList1"/>
    <dgm:cxn modelId="{AC195A83-A4AB-7C44-A3D4-F9A767FD9CA3}" srcId="{15F0E748-7453-8940-8C6B-F36FF08162FF}" destId="{73372D78-54D1-A54B-B426-8C7F0BFFBA13}" srcOrd="0" destOrd="0" parTransId="{644F9BD0-DB81-B24F-B04B-5A3153EB0D73}" sibTransId="{B7AC7C47-F1F8-9149-8ACC-ADB54591AF95}"/>
    <dgm:cxn modelId="{94FEE083-FBAA-8D47-9DE2-7102BE79A741}" srcId="{4AF71029-DEC9-5942-BD2A-10BABFDB3FD4}" destId="{8921EE94-65C6-A247-B5E5-1B6DA2925BDB}" srcOrd="4" destOrd="0" parTransId="{2F85C9D2-B85A-3548-B478-0C67994F70AC}" sibTransId="{A0F5B8BC-4B2E-D646-A622-3D6AE3B18244}"/>
    <dgm:cxn modelId="{1B39A88C-AA65-C443-A25F-EDEC8929022F}" srcId="{15F0E748-7453-8940-8C6B-F36FF08162FF}" destId="{EF9FC1D8-D835-9B43-8013-A19729D9F47A}" srcOrd="4" destOrd="0" parTransId="{FB817711-D326-3B4A-8B79-67537F13FA9C}" sibTransId="{77B790DC-8188-7A49-85E4-F7F35F39867F}"/>
    <dgm:cxn modelId="{D41EB58F-9F7C-474F-B646-D4A80DAB9ED2}" type="presOf" srcId="{F3EBB553-A782-6B4E-A112-54CD98FD45B9}" destId="{0C351331-AAD5-1D46-9CFA-8909831DF4F6}" srcOrd="0" destOrd="2" presId="urn:microsoft.com/office/officeart/2005/8/layout/hList1"/>
    <dgm:cxn modelId="{FFF31E97-DBAA-A642-A52D-D9B933C0075B}" type="presOf" srcId="{C422AAC9-3B4C-AC4C-8C09-C59B0A42B737}" destId="{2762D8C6-843C-4D45-B26F-E9BEE8122C33}" srcOrd="0" destOrd="0" presId="urn:microsoft.com/office/officeart/2005/8/layout/hList1"/>
    <dgm:cxn modelId="{5536109B-629A-CC45-84CE-5C6095DEB91B}" srcId="{4AF71029-DEC9-5942-BD2A-10BABFDB3FD4}" destId="{166F1747-D14C-794B-A51D-0833F90187FA}" srcOrd="3" destOrd="0" parTransId="{5E04C606-7727-5E49-91D9-99A654D5AAA8}" sibTransId="{B0DD87EC-2A5F-574A-A0B2-9CBC7D7C51E0}"/>
    <dgm:cxn modelId="{EBF7A59E-AEE6-9143-A7A0-2C859D94EA75}" type="presOf" srcId="{B179E2DA-15A9-304C-B373-75DE8713762D}" destId="{0C351331-AAD5-1D46-9CFA-8909831DF4F6}" srcOrd="0" destOrd="0" presId="urn:microsoft.com/office/officeart/2005/8/layout/hList1"/>
    <dgm:cxn modelId="{AC5B1FA1-B7AA-F746-9E22-C7C04488A405}" type="presOf" srcId="{8FDA3EC1-4BFA-EA40-AD93-A0CA59C94FD4}" destId="{EE2D57BB-5CDD-EF40-AC01-7D9F2B1E6232}" srcOrd="0" destOrd="0" presId="urn:microsoft.com/office/officeart/2005/8/layout/hList1"/>
    <dgm:cxn modelId="{071710A6-30F8-E24A-A20B-014D724A0B52}" srcId="{0E2291B7-EC00-584B-B247-DCC3E6011B45}" destId="{EF0AB95B-3DD1-3445-89C4-0E84CA0C42C8}" srcOrd="1" destOrd="0" parTransId="{46C09767-E9FA-3F45-9EC5-18364EED8339}" sibTransId="{D7ADFBF0-9BDB-7248-B5F0-10DFFA3F7782}"/>
    <dgm:cxn modelId="{9640F6A6-0F77-7E40-9E16-A04CD79D55ED}" type="presOf" srcId="{D03C0B30-418E-944C-AB46-103164520442}" destId="{EE2D57BB-5CDD-EF40-AC01-7D9F2B1E6232}" srcOrd="0" destOrd="3" presId="urn:microsoft.com/office/officeart/2005/8/layout/hList1"/>
    <dgm:cxn modelId="{E80A3BAD-C038-D148-B27F-87936F44075D}" type="presOf" srcId="{ED8C83FD-E506-F041-93D4-E8A7BDD59C31}" destId="{1D695675-348D-0748-9BBB-A70D7F4A5E66}" srcOrd="0" destOrd="0" presId="urn:microsoft.com/office/officeart/2005/8/layout/hList1"/>
    <dgm:cxn modelId="{552E28AF-7ABE-F745-9658-36DE13A57DBC}" type="presOf" srcId="{73372D78-54D1-A54B-B426-8C7F0BFFBA13}" destId="{78735514-20A4-6048-B13B-134240B22980}" srcOrd="0" destOrd="0" presId="urn:microsoft.com/office/officeart/2005/8/layout/hList1"/>
    <dgm:cxn modelId="{8CC66BB0-A55D-F24C-8947-CCF7FDB47E7D}" type="presOf" srcId="{212BE2F0-585D-AA42-8536-395573A45324}" destId="{3CC84B50-8E3A-A04D-8A9F-3152DD3AA1FB}" srcOrd="0" destOrd="0" presId="urn:microsoft.com/office/officeart/2005/8/layout/hList1"/>
    <dgm:cxn modelId="{5F2642B1-80B3-9246-9056-2B49BBFFBA53}" type="presOf" srcId="{0AD6F729-7FB6-A14B-BAE2-71898393E761}" destId="{0C351331-AAD5-1D46-9CFA-8909831DF4F6}" srcOrd="0" destOrd="4" presId="urn:microsoft.com/office/officeart/2005/8/layout/hList1"/>
    <dgm:cxn modelId="{666077B7-FFCA-E34F-8616-22EE3881FEDE}" srcId="{C422AAC9-3B4C-AC4C-8C09-C59B0A42B737}" destId="{8C069CE0-4577-F145-AA64-9BA20F16FF33}" srcOrd="2" destOrd="0" parTransId="{18A4E4B7-3E27-4445-B104-426D2C7E6ADB}" sibTransId="{CA25F32C-5405-344B-9178-91D5EB184204}"/>
    <dgm:cxn modelId="{D45E44B9-9932-9044-89AB-108A950889E4}" srcId="{4AF71029-DEC9-5942-BD2A-10BABFDB3FD4}" destId="{ECB984C3-DA2A-B247-A36D-385F6D584393}" srcOrd="0" destOrd="0" parTransId="{2C687D61-EE09-8E45-A9CD-847F4802F8BB}" sibTransId="{64B65BF7-8209-4F4E-973A-9059B1F485FF}"/>
    <dgm:cxn modelId="{137609BA-64D8-7042-B18C-A865DD582A03}" srcId="{073D2791-CE57-5B45-8FD5-E2E5BD59BF18}" destId="{0E2291B7-EC00-584B-B247-DCC3E6011B45}" srcOrd="2" destOrd="0" parTransId="{F405C6B3-DCDE-3B43-91DA-886371A57AA1}" sibTransId="{47DA0004-00E1-F744-8C0E-AB2A73875F0C}"/>
    <dgm:cxn modelId="{CEC8B8C2-A04D-0344-BF0B-F49F5DE8EFE2}" type="presOf" srcId="{EF0AB95B-3DD1-3445-89C4-0E84CA0C42C8}" destId="{EE2D57BB-5CDD-EF40-AC01-7D9F2B1E6232}" srcOrd="0" destOrd="1" presId="urn:microsoft.com/office/officeart/2005/8/layout/hList1"/>
    <dgm:cxn modelId="{3899C4C8-5B3F-554E-85D8-2218F636902E}" srcId="{4AF71029-DEC9-5942-BD2A-10BABFDB3FD4}" destId="{31BB76EC-7EE9-AB4E-B762-124ED6C729DB}" srcOrd="1" destOrd="0" parTransId="{8F86D53D-7D42-C344-BB9E-C0B2419E7119}" sibTransId="{7F05D0DC-67D1-0B4C-A860-9581D5B942D0}"/>
    <dgm:cxn modelId="{52E909CF-7867-C547-B907-E2FEABEE7EFC}" type="presOf" srcId="{9F0D6B08-7A2F-1746-AB3A-9ABFCB8ABED5}" destId="{3CC84B50-8E3A-A04D-8A9F-3152DD3AA1FB}" srcOrd="0" destOrd="1" presId="urn:microsoft.com/office/officeart/2005/8/layout/hList1"/>
    <dgm:cxn modelId="{9B0ED0CF-E0D2-B44C-919E-E3057CE3D610}" type="presOf" srcId="{073D2791-CE57-5B45-8FD5-E2E5BD59BF18}" destId="{33A31804-28E5-374A-8CCF-E48D9B8D10E2}" srcOrd="0" destOrd="0" presId="urn:microsoft.com/office/officeart/2005/8/layout/hList1"/>
    <dgm:cxn modelId="{DC3EB9D0-7D3D-BF47-9A2A-6912E19849CB}" srcId="{C422AAC9-3B4C-AC4C-8C09-C59B0A42B737}" destId="{212BE2F0-585D-AA42-8536-395573A45324}" srcOrd="0" destOrd="0" parTransId="{5EF6E0A5-7FED-A841-BB35-466A7D9BC6AD}" sibTransId="{326BE47E-2EE3-684A-A1D1-55D80FEE615E}"/>
    <dgm:cxn modelId="{AE359CD1-A11D-CA47-97B6-B893C67B6DE9}" srcId="{61B73128-FB4D-2749-AB70-2AD52321B710}" destId="{CBD49D4C-60CF-CA4E-80C2-AEA422B04DA5}" srcOrd="1" destOrd="0" parTransId="{48FFFA1D-6924-854B-8230-D401C36539C3}" sibTransId="{ECC3C7D1-0235-9B44-848A-A7935CA670A1}"/>
    <dgm:cxn modelId="{2979A0D1-6FC2-9147-A9E5-9A88F96B7C68}" srcId="{0E2291B7-EC00-584B-B247-DCC3E6011B45}" destId="{08A2E09F-CF46-F741-8A5A-DA1769D6E19E}" srcOrd="2" destOrd="0" parTransId="{06D4BBEC-9F2B-7341-B336-3747B12963ED}" sibTransId="{5C77AE84-B384-4E4C-8A04-62EA705EEC71}"/>
    <dgm:cxn modelId="{E003F4D3-510B-D748-B7EE-495013C7E26D}" type="presOf" srcId="{FBBAF03F-E413-2E42-8782-34AA36620D6E}" destId="{78735514-20A4-6048-B13B-134240B22980}" srcOrd="0" destOrd="3" presId="urn:microsoft.com/office/officeart/2005/8/layout/hList1"/>
    <dgm:cxn modelId="{1A9C2DD7-9C90-324A-A7F7-203613F4F236}" type="presOf" srcId="{CBD49D4C-60CF-CA4E-80C2-AEA422B04DA5}" destId="{0C351331-AAD5-1D46-9CFA-8909831DF4F6}" srcOrd="0" destOrd="1" presId="urn:microsoft.com/office/officeart/2005/8/layout/hList1"/>
    <dgm:cxn modelId="{66AD96D7-DE38-D141-855C-5C9392D0440D}" type="presOf" srcId="{FEF42E91-84ED-F84C-9C50-523CBCD8A754}" destId="{D23A04DD-8006-3A4D-8713-79DAB60251A9}" srcOrd="0" destOrd="2" presId="urn:microsoft.com/office/officeart/2005/8/layout/hList1"/>
    <dgm:cxn modelId="{EF4196DB-77C3-084E-A233-46F84BCDD9E8}" type="presOf" srcId="{08A2E09F-CF46-F741-8A5A-DA1769D6E19E}" destId="{EE2D57BB-5CDD-EF40-AC01-7D9F2B1E6232}" srcOrd="0" destOrd="2" presId="urn:microsoft.com/office/officeart/2005/8/layout/hList1"/>
    <dgm:cxn modelId="{E562A9DF-EDB4-E444-98EC-FCE7D44F7EAD}" type="presOf" srcId="{0E2291B7-EC00-584B-B247-DCC3E6011B45}" destId="{D5F02457-AC24-8F47-AD54-EE7244800834}" srcOrd="0" destOrd="0" presId="urn:microsoft.com/office/officeart/2005/8/layout/hList1"/>
    <dgm:cxn modelId="{E88F1EE7-BE0D-1F4B-A17D-D99068E033F2}" type="presOf" srcId="{B5AC0E8D-0B8F-2740-928D-95F2BCAF7404}" destId="{78735514-20A4-6048-B13B-134240B22980}" srcOrd="0" destOrd="1" presId="urn:microsoft.com/office/officeart/2005/8/layout/hList1"/>
    <dgm:cxn modelId="{DAC1BDE7-CEF7-F847-84AA-21A4B5F71866}" srcId="{073D2791-CE57-5B45-8FD5-E2E5BD59BF18}" destId="{61B73128-FB4D-2749-AB70-2AD52321B710}" srcOrd="3" destOrd="0" parTransId="{F59253BF-75CC-134B-A4ED-1B9FE21E5364}" sibTransId="{D3C8E7D9-7518-4C48-936E-147C7E91F005}"/>
    <dgm:cxn modelId="{9549D6F6-68B8-534F-87CF-FC1550C702EE}" srcId="{073D2791-CE57-5B45-8FD5-E2E5BD59BF18}" destId="{4AF71029-DEC9-5942-BD2A-10BABFDB3FD4}" srcOrd="4" destOrd="0" parTransId="{6D6EFD25-E655-6247-AA26-2271D00E1713}" sibTransId="{FEB15EB1-6F3C-9F4F-B5A6-71182A1D1CB4}"/>
    <dgm:cxn modelId="{C7DC0FFA-ED8A-A64A-A3F5-F759C6C1F2DC}" type="presOf" srcId="{F35B4CCB-30DB-B741-B617-040CB232764A}" destId="{D23A04DD-8006-3A4D-8713-79DAB60251A9}" srcOrd="0" destOrd="0" presId="urn:microsoft.com/office/officeart/2005/8/layout/hList1"/>
    <dgm:cxn modelId="{3ECDFFFE-3675-6D41-A102-A73B3FC2FD86}" type="presOf" srcId="{15F0E748-7453-8940-8C6B-F36FF08162FF}" destId="{08536009-6204-BE45-8A0E-72794E81E737}" srcOrd="0" destOrd="0" presId="urn:microsoft.com/office/officeart/2005/8/layout/hList1"/>
    <dgm:cxn modelId="{7C0690FF-AFA6-BD4C-933A-832A2AD2E1D6}" type="presOf" srcId="{61B73128-FB4D-2749-AB70-2AD52321B710}" destId="{C101659A-6BD8-9840-BC99-3B152954B348}" srcOrd="0" destOrd="0" presId="urn:microsoft.com/office/officeart/2005/8/layout/hList1"/>
    <dgm:cxn modelId="{8FBC3964-7D21-7D47-B507-4B18F52E93B6}" type="presParOf" srcId="{33A31804-28E5-374A-8CCF-E48D9B8D10E2}" destId="{72A965B3-5A65-9B42-99BD-CF96676FEA60}" srcOrd="0" destOrd="0" presId="urn:microsoft.com/office/officeart/2005/8/layout/hList1"/>
    <dgm:cxn modelId="{B5108EB1-56EA-CB42-B106-048EA856C67E}" type="presParOf" srcId="{72A965B3-5A65-9B42-99BD-CF96676FEA60}" destId="{2762D8C6-843C-4D45-B26F-E9BEE8122C33}" srcOrd="0" destOrd="0" presId="urn:microsoft.com/office/officeart/2005/8/layout/hList1"/>
    <dgm:cxn modelId="{36D1DBFC-016A-4247-9EAC-E1FAFF89CF9A}" type="presParOf" srcId="{72A965B3-5A65-9B42-99BD-CF96676FEA60}" destId="{3CC84B50-8E3A-A04D-8A9F-3152DD3AA1FB}" srcOrd="1" destOrd="0" presId="urn:microsoft.com/office/officeart/2005/8/layout/hList1"/>
    <dgm:cxn modelId="{22B96D46-C057-6D4B-ACBB-544064E114BF}" type="presParOf" srcId="{33A31804-28E5-374A-8CCF-E48D9B8D10E2}" destId="{330B3882-1EC1-E14F-B34D-4ECE216B0B06}" srcOrd="1" destOrd="0" presId="urn:microsoft.com/office/officeart/2005/8/layout/hList1"/>
    <dgm:cxn modelId="{C0BC7539-8F09-2844-A7B3-61E49E1634C0}" type="presParOf" srcId="{33A31804-28E5-374A-8CCF-E48D9B8D10E2}" destId="{503ABF95-B121-6E46-B687-00172037631B}" srcOrd="2" destOrd="0" presId="urn:microsoft.com/office/officeart/2005/8/layout/hList1"/>
    <dgm:cxn modelId="{C031206B-4B34-5B49-A5BE-0A76F6C3DD5F}" type="presParOf" srcId="{503ABF95-B121-6E46-B687-00172037631B}" destId="{1D695675-348D-0748-9BBB-A70D7F4A5E66}" srcOrd="0" destOrd="0" presId="urn:microsoft.com/office/officeart/2005/8/layout/hList1"/>
    <dgm:cxn modelId="{15411417-26A1-5141-BF9C-54158C535CA9}" type="presParOf" srcId="{503ABF95-B121-6E46-B687-00172037631B}" destId="{D23A04DD-8006-3A4D-8713-79DAB60251A9}" srcOrd="1" destOrd="0" presId="urn:microsoft.com/office/officeart/2005/8/layout/hList1"/>
    <dgm:cxn modelId="{65C6453F-DFFE-2442-AB0E-85E202067E26}" type="presParOf" srcId="{33A31804-28E5-374A-8CCF-E48D9B8D10E2}" destId="{0628EB48-327E-5546-919E-52F725D4F84B}" srcOrd="3" destOrd="0" presId="urn:microsoft.com/office/officeart/2005/8/layout/hList1"/>
    <dgm:cxn modelId="{8DEAB761-A6C4-104A-A02A-D0598FF107E6}" type="presParOf" srcId="{33A31804-28E5-374A-8CCF-E48D9B8D10E2}" destId="{9091DA94-5713-4549-B34D-25661FD95A6A}" srcOrd="4" destOrd="0" presId="urn:microsoft.com/office/officeart/2005/8/layout/hList1"/>
    <dgm:cxn modelId="{A8EE444F-19F2-EF41-8E7C-D4A08EEC1BD5}" type="presParOf" srcId="{9091DA94-5713-4549-B34D-25661FD95A6A}" destId="{D5F02457-AC24-8F47-AD54-EE7244800834}" srcOrd="0" destOrd="0" presId="urn:microsoft.com/office/officeart/2005/8/layout/hList1"/>
    <dgm:cxn modelId="{D70D5DC4-4235-314B-BAA9-48E07F4878ED}" type="presParOf" srcId="{9091DA94-5713-4549-B34D-25661FD95A6A}" destId="{EE2D57BB-5CDD-EF40-AC01-7D9F2B1E6232}" srcOrd="1" destOrd="0" presId="urn:microsoft.com/office/officeart/2005/8/layout/hList1"/>
    <dgm:cxn modelId="{DE47625D-DE3B-F647-90F5-8B25A6DC4813}" type="presParOf" srcId="{33A31804-28E5-374A-8CCF-E48D9B8D10E2}" destId="{F6E5D42B-7FD7-FF47-B9C2-B6A286D0DE14}" srcOrd="5" destOrd="0" presId="urn:microsoft.com/office/officeart/2005/8/layout/hList1"/>
    <dgm:cxn modelId="{28B5981F-F434-EC42-9192-8AA7AA16F922}" type="presParOf" srcId="{33A31804-28E5-374A-8CCF-E48D9B8D10E2}" destId="{3AC272A4-8BDC-1444-9745-CC97217598EB}" srcOrd="6" destOrd="0" presId="urn:microsoft.com/office/officeart/2005/8/layout/hList1"/>
    <dgm:cxn modelId="{8E1FA096-A282-2342-A566-E76DB06146E9}" type="presParOf" srcId="{3AC272A4-8BDC-1444-9745-CC97217598EB}" destId="{C101659A-6BD8-9840-BC99-3B152954B348}" srcOrd="0" destOrd="0" presId="urn:microsoft.com/office/officeart/2005/8/layout/hList1"/>
    <dgm:cxn modelId="{790E81B8-4438-4F4A-A631-3A129A254471}" type="presParOf" srcId="{3AC272A4-8BDC-1444-9745-CC97217598EB}" destId="{0C351331-AAD5-1D46-9CFA-8909831DF4F6}" srcOrd="1" destOrd="0" presId="urn:microsoft.com/office/officeart/2005/8/layout/hList1"/>
    <dgm:cxn modelId="{C837B00C-1F07-7141-AEFF-FFEFED024623}" type="presParOf" srcId="{33A31804-28E5-374A-8CCF-E48D9B8D10E2}" destId="{6A6CB750-8662-DE4D-86E7-123CE5D13375}" srcOrd="7" destOrd="0" presId="urn:microsoft.com/office/officeart/2005/8/layout/hList1"/>
    <dgm:cxn modelId="{6BBA6F63-F7E8-FA48-9D56-BD5BF063B671}" type="presParOf" srcId="{33A31804-28E5-374A-8CCF-E48D9B8D10E2}" destId="{3837929D-4D4A-024F-A89C-F9B7F42BBD7C}" srcOrd="8" destOrd="0" presId="urn:microsoft.com/office/officeart/2005/8/layout/hList1"/>
    <dgm:cxn modelId="{F6417A62-7001-7D4A-97E7-F07FC20B4436}" type="presParOf" srcId="{3837929D-4D4A-024F-A89C-F9B7F42BBD7C}" destId="{EF845473-8DE6-E547-9ABF-BF38722676EE}" srcOrd="0" destOrd="0" presId="urn:microsoft.com/office/officeart/2005/8/layout/hList1"/>
    <dgm:cxn modelId="{EFD228C9-A6CD-6B4E-8D99-D84CC9E9FB75}" type="presParOf" srcId="{3837929D-4D4A-024F-A89C-F9B7F42BBD7C}" destId="{3120CE1D-9D03-2544-AFD6-A7134A3F3DC2}" srcOrd="1" destOrd="0" presId="urn:microsoft.com/office/officeart/2005/8/layout/hList1"/>
    <dgm:cxn modelId="{5BD60D18-6788-424B-A4FA-7CE01E6E97FB}" type="presParOf" srcId="{33A31804-28E5-374A-8CCF-E48D9B8D10E2}" destId="{EB2A0EE4-5D19-374B-9964-73813B597CB8}" srcOrd="9" destOrd="0" presId="urn:microsoft.com/office/officeart/2005/8/layout/hList1"/>
    <dgm:cxn modelId="{BD56374D-F81D-4643-BA30-DC01D51C52F3}" type="presParOf" srcId="{33A31804-28E5-374A-8CCF-E48D9B8D10E2}" destId="{4AD635AC-62D7-FF4E-A8BA-111F4FFEEAB3}" srcOrd="10" destOrd="0" presId="urn:microsoft.com/office/officeart/2005/8/layout/hList1"/>
    <dgm:cxn modelId="{9C9B94EF-C99A-314C-8562-D7E8378BBE5B}" type="presParOf" srcId="{4AD635AC-62D7-FF4E-A8BA-111F4FFEEAB3}" destId="{08536009-6204-BE45-8A0E-72794E81E737}" srcOrd="0" destOrd="0" presId="urn:microsoft.com/office/officeart/2005/8/layout/hList1"/>
    <dgm:cxn modelId="{F65989DB-5D3F-5A41-9453-DDE5528A2338}" type="presParOf" srcId="{4AD635AC-62D7-FF4E-A8BA-111F4FFEEAB3}" destId="{78735514-20A4-6048-B13B-134240B22980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9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762D8C6-843C-4D45-B26F-E9BEE8122C33}">
      <dsp:nvSpPr>
        <dsp:cNvPr id="0" name=""/>
        <dsp:cNvSpPr/>
      </dsp:nvSpPr>
      <dsp:spPr>
        <a:xfrm>
          <a:off x="3131" y="489589"/>
          <a:ext cx="1663899" cy="595568"/>
        </a:xfrm>
        <a:prstGeom prst="rect">
          <a:avLst/>
        </a:prstGeom>
        <a:solidFill>
          <a:srgbClr val="23388A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 dirty="0">
              <a:latin typeface="Sailec" pitchFamily="2" charset="77"/>
            </a:rPr>
            <a:t>LE FACTEUR PLAISIR</a:t>
          </a:r>
        </a:p>
      </dsp:txBody>
      <dsp:txXfrm>
        <a:off x="3131" y="489589"/>
        <a:ext cx="1663899" cy="595568"/>
      </dsp:txXfrm>
    </dsp:sp>
    <dsp:sp modelId="{3CC84B50-8E3A-A04D-8A9F-3152DD3AA1FB}">
      <dsp:nvSpPr>
        <dsp:cNvPr id="0" name=""/>
        <dsp:cNvSpPr/>
      </dsp:nvSpPr>
      <dsp:spPr>
        <a:xfrm>
          <a:off x="3131" y="1085158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fr-FR" sz="1400" kern="1200" dirty="0"/>
            <a:t>L’importance des </a:t>
          </a:r>
          <a:r>
            <a:rPr lang="fr-FR" sz="1400" kern="1200" dirty="0">
              <a:latin typeface="Calibri Light" panose="020F0302020204030204"/>
            </a:rPr>
            <a:t>événements </a:t>
          </a:r>
          <a:r>
            <a:rPr lang="fr-FR" sz="1400" kern="1200" dirty="0"/>
            <a:t>collectifs, festifs, fédérateurs, des célébrations.</a:t>
          </a:r>
          <a:r>
            <a:rPr lang="fr-FR" sz="1400" kern="1200" dirty="0">
              <a:latin typeface="Calibri Light" panose="020F0302020204030204"/>
            </a:rPr>
            <a:t> </a:t>
          </a: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fr-FR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fr-FR" sz="1400" kern="1200"/>
            <a:t>Aussi chez les plus désengagés, notamment les Laissés pour compte.</a:t>
          </a:r>
        </a:p>
      </dsp:txBody>
      <dsp:txXfrm>
        <a:off x="3131" y="1085158"/>
        <a:ext cx="1663899" cy="3368629"/>
      </dsp:txXfrm>
    </dsp:sp>
    <dsp:sp modelId="{1D695675-348D-0748-9BBB-A70D7F4A5E66}">
      <dsp:nvSpPr>
        <dsp:cNvPr id="0" name=""/>
        <dsp:cNvSpPr/>
      </dsp:nvSpPr>
      <dsp:spPr>
        <a:xfrm>
          <a:off x="1899977" y="453441"/>
          <a:ext cx="1663899" cy="740160"/>
        </a:xfrm>
        <a:prstGeom prst="rect">
          <a:avLst/>
        </a:prstGeom>
        <a:solidFill>
          <a:srgbClr val="17C1E8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1" kern="1200">
              <a:latin typeface="Sailec"/>
            </a:rPr>
            <a:t>L’APPARTENANCE DE GROUPE</a:t>
          </a:r>
        </a:p>
      </dsp:txBody>
      <dsp:txXfrm>
        <a:off x="1899977" y="453441"/>
        <a:ext cx="1663899" cy="740160"/>
      </dsp:txXfrm>
    </dsp:sp>
    <dsp:sp modelId="{D23A04DD-8006-3A4D-8713-79DAB60251A9}">
      <dsp:nvSpPr>
        <dsp:cNvPr id="0" name=""/>
        <dsp:cNvSpPr/>
      </dsp:nvSpPr>
      <dsp:spPr>
        <a:xfrm>
          <a:off x="1899977" y="1121306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400" kern="120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/>
            <a:t>Se reconnaître dans le groupe mobilisé.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400" kern="1200"/>
            <a:t>Se sentir concerné.</a:t>
          </a:r>
        </a:p>
      </dsp:txBody>
      <dsp:txXfrm>
        <a:off x="1899977" y="1121306"/>
        <a:ext cx="1663899" cy="3368629"/>
      </dsp:txXfrm>
    </dsp:sp>
    <dsp:sp modelId="{D5F02457-AC24-8F47-AD54-EE7244800834}">
      <dsp:nvSpPr>
        <dsp:cNvPr id="0" name=""/>
        <dsp:cNvSpPr/>
      </dsp:nvSpPr>
      <dsp:spPr>
        <a:xfrm>
          <a:off x="3796823" y="489589"/>
          <a:ext cx="1663899" cy="595568"/>
        </a:xfrm>
        <a:prstGeom prst="rect">
          <a:avLst/>
        </a:prstGeom>
        <a:solidFill>
          <a:srgbClr val="329F5B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5344" tIns="48768" rIns="85344" bIns="48768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200" b="1" kern="1200">
              <a:latin typeface="Sailec" pitchFamily="2" charset="77"/>
            </a:rPr>
            <a:t>LA TRANSGRESSION</a:t>
          </a:r>
        </a:p>
      </dsp:txBody>
      <dsp:txXfrm>
        <a:off x="3796823" y="489589"/>
        <a:ext cx="1663899" cy="595568"/>
      </dsp:txXfrm>
    </dsp:sp>
    <dsp:sp modelId="{EE2D57BB-5CDD-EF40-AC01-7D9F2B1E6232}">
      <dsp:nvSpPr>
        <dsp:cNvPr id="0" name=""/>
        <dsp:cNvSpPr/>
      </dsp:nvSpPr>
      <dsp:spPr>
        <a:xfrm>
          <a:off x="3796823" y="1085158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Remise en cause de l’ordre établi, des règles.</a:t>
          </a:r>
        </a:p>
      </dsp:txBody>
      <dsp:txXfrm>
        <a:off x="3796823" y="1085158"/>
        <a:ext cx="1663899" cy="3368629"/>
      </dsp:txXfrm>
    </dsp:sp>
    <dsp:sp modelId="{C101659A-6BD8-9840-BC99-3B152954B348}">
      <dsp:nvSpPr>
        <dsp:cNvPr id="0" name=""/>
        <dsp:cNvSpPr/>
      </dsp:nvSpPr>
      <dsp:spPr>
        <a:xfrm>
          <a:off x="5693669" y="489589"/>
          <a:ext cx="1663899" cy="595568"/>
        </a:xfrm>
        <a:prstGeom prst="rect">
          <a:avLst/>
        </a:prstGeom>
        <a:solidFill>
          <a:srgbClr val="23388A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600" b="1" kern="1200">
              <a:latin typeface="Sailec" pitchFamily="2" charset="77"/>
            </a:rPr>
            <a:t>NARCISSE</a:t>
          </a:r>
        </a:p>
      </dsp:txBody>
      <dsp:txXfrm>
        <a:off x="5693669" y="489589"/>
        <a:ext cx="1663899" cy="595568"/>
      </dsp:txXfrm>
    </dsp:sp>
    <dsp:sp modelId="{0C351331-AAD5-1D46-9CFA-8909831DF4F6}">
      <dsp:nvSpPr>
        <dsp:cNvPr id="0" name=""/>
        <dsp:cNvSpPr/>
      </dsp:nvSpPr>
      <dsp:spPr>
        <a:xfrm>
          <a:off x="5693669" y="1085158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Utiliser la culture du selfie, de la mise en scène de soi, l’aspiration généralisée à être « acteur de son propre film »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Valoriser l’engagement et le rôle, le pouvoir de chacun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Fait écho à la nécessité de la reconnaissance.</a:t>
          </a:r>
        </a:p>
      </dsp:txBody>
      <dsp:txXfrm>
        <a:off x="5693669" y="1085158"/>
        <a:ext cx="1663899" cy="3368629"/>
      </dsp:txXfrm>
    </dsp:sp>
    <dsp:sp modelId="{EF845473-8DE6-E547-9ABF-BF38722676EE}">
      <dsp:nvSpPr>
        <dsp:cNvPr id="0" name=""/>
        <dsp:cNvSpPr/>
      </dsp:nvSpPr>
      <dsp:spPr>
        <a:xfrm>
          <a:off x="7590515" y="489589"/>
          <a:ext cx="1663899" cy="595568"/>
        </a:xfrm>
        <a:prstGeom prst="rect">
          <a:avLst/>
        </a:prstGeom>
        <a:solidFill>
          <a:srgbClr val="17C1E8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>
              <a:latin typeface="Sailec" pitchFamily="2" charset="77"/>
            </a:rPr>
            <a:t>LES HÉROS IMPROBABLES</a:t>
          </a:r>
        </a:p>
      </dsp:txBody>
      <dsp:txXfrm>
        <a:off x="7590515" y="489589"/>
        <a:ext cx="1663899" cy="595568"/>
      </dsp:txXfrm>
    </dsp:sp>
    <dsp:sp modelId="{3120CE1D-9D03-2544-AFD6-A7134A3F3DC2}">
      <dsp:nvSpPr>
        <dsp:cNvPr id="0" name=""/>
        <dsp:cNvSpPr/>
      </dsp:nvSpPr>
      <dsp:spPr>
        <a:xfrm>
          <a:off x="7590515" y="1085158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Le messager est tout aussi important que l’histoire racontée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L’importance de choisir son émetteur, son incarnation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L’importance des histoires personnelles, incarnées : les héros ordinaires de notre quotidien. Des héros que nous pouvons être.</a:t>
          </a:r>
        </a:p>
      </dsp:txBody>
      <dsp:txXfrm>
        <a:off x="7590515" y="1085158"/>
        <a:ext cx="1663899" cy="3368629"/>
      </dsp:txXfrm>
    </dsp:sp>
    <dsp:sp modelId="{08536009-6204-BE45-8A0E-72794E81E737}">
      <dsp:nvSpPr>
        <dsp:cNvPr id="0" name=""/>
        <dsp:cNvSpPr/>
      </dsp:nvSpPr>
      <dsp:spPr>
        <a:xfrm>
          <a:off x="9487361" y="489589"/>
          <a:ext cx="1663899" cy="595568"/>
        </a:xfrm>
        <a:prstGeom prst="rect">
          <a:avLst/>
        </a:prstGeom>
        <a:solidFill>
          <a:srgbClr val="009F5B"/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fr-FR" sz="1400" b="1" kern="1200">
              <a:latin typeface="Sailec" pitchFamily="2" charset="77"/>
            </a:rPr>
            <a:t>UN AVENIR TANGIBLE</a:t>
          </a:r>
        </a:p>
      </dsp:txBody>
      <dsp:txXfrm>
        <a:off x="9487361" y="489589"/>
        <a:ext cx="1663899" cy="595568"/>
      </dsp:txXfrm>
    </dsp:sp>
    <dsp:sp modelId="{78735514-20A4-6048-B13B-134240B22980}">
      <dsp:nvSpPr>
        <dsp:cNvPr id="0" name=""/>
        <dsp:cNvSpPr/>
      </dsp:nvSpPr>
      <dsp:spPr>
        <a:xfrm>
          <a:off x="9487361" y="1085158"/>
          <a:ext cx="1663899" cy="3368629"/>
        </a:xfrm>
        <a:prstGeom prst="rect">
          <a:avLst/>
        </a:prstGeom>
        <a:solidFill>
          <a:schemeClr val="accent3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Rapprocher l’avenir, un avenir que l’on peut toucher.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Inscrire l’engagement et les changements portés dans le quotidien pour le rendre accessible et lisible. 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fr-FR" sz="1200" kern="1200">
            <a:latin typeface="Sailec" pitchFamily="2" charset="77"/>
          </a:endParaRP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fr-FR" sz="1200" kern="1200">
              <a:latin typeface="Sailec" pitchFamily="2" charset="77"/>
            </a:rPr>
            <a:t>Donner vie au futur, au changement, ici et maintenant. </a:t>
          </a:r>
        </a:p>
      </dsp:txBody>
      <dsp:txXfrm>
        <a:off x="9487361" y="1085158"/>
        <a:ext cx="1663899" cy="336862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DAD35B1-60AB-43F7-96E0-8278C11AA7BA}" type="datetimeFigureOut">
              <a:rPr lang="en-GB" smtClean="0"/>
              <a:pPr/>
              <a:t>05/10/2023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21CB74D-572E-4F08-9394-3ECB1E1638A9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600780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8B935B-3E5D-4FF0-8ED3-E5C882647223}" type="datetimeFigureOut">
              <a:rPr lang="en-US" smtClean="0"/>
              <a:pPr/>
              <a:t>10/5/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8706B8-EBCC-470A-8AE8-B49CE76EE6E5}" type="slidenum">
              <a:rPr lang="en-GB" smtClean="0"/>
              <a:pPr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1154856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1pPr>
    <a:lvl2pPr marL="403339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2pPr>
    <a:lvl3pPr marL="806674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3pPr>
    <a:lvl4pPr marL="1210012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4pPr>
    <a:lvl5pPr marL="1613350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5pPr>
    <a:lvl6pPr marL="2016688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6pPr>
    <a:lvl7pPr marL="2420025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7pPr>
    <a:lvl8pPr marL="2823360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8pPr>
    <a:lvl9pPr marL="3226698" algn="l" defTabSz="806674" rtl="0" eaLnBrk="1" latinLnBrk="0" hangingPunct="1">
      <a:defRPr sz="1059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00949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1873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457317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768495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04370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Transparaît spontanément : la contrainte, l’empathie, les personnes au centre des considération, la vulnérabilité </a:t>
            </a:r>
          </a:p>
          <a:p>
            <a:r>
              <a:rPr lang="fr-FR" dirty="0"/>
              <a:t>- la contrainte derrière la migration : fuite, guerre, quitter</a:t>
            </a:r>
          </a:p>
          <a:p>
            <a:r>
              <a:rPr lang="fr-FR" dirty="0"/>
              <a:t>- l’empathie : solidarité, misère, difficile, aide</a:t>
            </a:r>
          </a:p>
          <a:p>
            <a:r>
              <a:rPr lang="fr-FR" dirty="0"/>
              <a:t>- les personnes au centre de leurs considération : personnes, situation, réfugiés, qui sont aussi actives (veulent, s’intégrer)</a:t>
            </a:r>
          </a:p>
          <a:p>
            <a:r>
              <a:rPr lang="fr-FR" dirty="0"/>
              <a:t>- une vision d’une vulnérabilité, d’un dénuement : misère, pauvreté et en miroir l’idée d’une amélioration de leur situation via la migration (meilleur, accueil).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921057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7607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2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87056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5336139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1610316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4450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60691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4868952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29836371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672536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8184188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8729294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8865145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3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720645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28778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43692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124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42164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716206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048906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48706B8-EBCC-470A-8AE8-B49CE76EE6E5}" type="slidenum">
              <a:rPr lang="en-GB" smtClean="0"/>
              <a:pPr/>
              <a:t>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90756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.emf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7" Type="http://schemas.openxmlformats.org/officeDocument/2006/relationships/image" Target="../media/image2.emf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9.xml"/><Relationship Id="rId1" Type="http://schemas.openxmlformats.org/officeDocument/2006/relationships/tags" Target="../tags/tag4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4" Type="http://schemas.openxmlformats.org/officeDocument/2006/relationships/image" Target="../media/image3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2" Type="http://schemas.openxmlformats.org/officeDocument/2006/relationships/tags" Target="../tags/tag65.xml"/><Relationship Id="rId1" Type="http://schemas.openxmlformats.org/officeDocument/2006/relationships/tags" Target="../tags/tag64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69.xml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7" Type="http://schemas.openxmlformats.org/officeDocument/2006/relationships/image" Target="../media/image2.emf"/><Relationship Id="rId2" Type="http://schemas.openxmlformats.org/officeDocument/2006/relationships/tags" Target="../tags/tag71.xml"/><Relationship Id="rId1" Type="http://schemas.openxmlformats.org/officeDocument/2006/relationships/tags" Target="../tags/tag70.x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7" Type="http://schemas.openxmlformats.org/officeDocument/2006/relationships/image" Target="../media/image2.emf"/><Relationship Id="rId2" Type="http://schemas.openxmlformats.org/officeDocument/2006/relationships/tags" Target="../tags/tag75.xml"/><Relationship Id="rId1" Type="http://schemas.openxmlformats.org/officeDocument/2006/relationships/tags" Target="../tags/tag74.xml"/><Relationship Id="rId6" Type="http://schemas.openxmlformats.org/officeDocument/2006/relationships/oleObject" Target="../embeddings/oleObject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7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2.emf"/><Relationship Id="rId2" Type="http://schemas.openxmlformats.org/officeDocument/2006/relationships/tags" Target="../tags/tag79.xml"/><Relationship Id="rId1" Type="http://schemas.openxmlformats.org/officeDocument/2006/relationships/tags" Target="../tags/tag78.x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7" Type="http://schemas.openxmlformats.org/officeDocument/2006/relationships/image" Target="../media/image2.emf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5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image" Target="../media/image4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6" Type="http://schemas.openxmlformats.org/officeDocument/2006/relationships/image" Target="../media/image5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100.xml"/><Relationship Id="rId2" Type="http://schemas.openxmlformats.org/officeDocument/2006/relationships/tags" Target="../tags/tag99.xml"/><Relationship Id="rId1" Type="http://schemas.openxmlformats.org/officeDocument/2006/relationships/tags" Target="../tags/tag9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2.xml"/><Relationship Id="rId4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3.xml"/><Relationship Id="rId4" Type="http://schemas.openxmlformats.org/officeDocument/2006/relationships/image" Target="../media/image7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4.xml"/><Relationship Id="rId4" Type="http://schemas.openxmlformats.org/officeDocument/2006/relationships/image" Target="../media/image8.png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0.bin"/><Relationship Id="rId2" Type="http://schemas.openxmlformats.org/officeDocument/2006/relationships/tags" Target="../tags/tag106.xml"/><Relationship Id="rId1" Type="http://schemas.openxmlformats.org/officeDocument/2006/relationships/tags" Target="../tags/tag10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tags" Target="../tags/tag112.xml"/><Relationship Id="rId7" Type="http://schemas.openxmlformats.org/officeDocument/2006/relationships/oleObject" Target="../embeddings/oleObject11.bin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14.xml"/><Relationship Id="rId4" Type="http://schemas.openxmlformats.org/officeDocument/2006/relationships/tags" Target="../tags/tag113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.bin"/><Relationship Id="rId3" Type="http://schemas.openxmlformats.org/officeDocument/2006/relationships/tags" Target="../tags/tag1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6.xml"/><Relationship Id="rId1" Type="http://schemas.openxmlformats.org/officeDocument/2006/relationships/tags" Target="../tags/tag115.xml"/><Relationship Id="rId6" Type="http://schemas.openxmlformats.org/officeDocument/2006/relationships/tags" Target="../tags/tag120.xml"/><Relationship Id="rId5" Type="http://schemas.openxmlformats.org/officeDocument/2006/relationships/tags" Target="../tags/tag119.xml"/><Relationship Id="rId4" Type="http://schemas.openxmlformats.org/officeDocument/2006/relationships/tags" Target="../tags/tag118.xml"/><Relationship Id="rId9" Type="http://schemas.openxmlformats.org/officeDocument/2006/relationships/image" Target="../media/image2.emf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.bin"/><Relationship Id="rId3" Type="http://schemas.openxmlformats.org/officeDocument/2006/relationships/tags" Target="../tags/tag12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2.xml"/><Relationship Id="rId1" Type="http://schemas.openxmlformats.org/officeDocument/2006/relationships/tags" Target="../tags/tag121.xml"/><Relationship Id="rId6" Type="http://schemas.openxmlformats.org/officeDocument/2006/relationships/tags" Target="../tags/tag126.xml"/><Relationship Id="rId5" Type="http://schemas.openxmlformats.org/officeDocument/2006/relationships/tags" Target="../tags/tag125.xml"/><Relationship Id="rId4" Type="http://schemas.openxmlformats.org/officeDocument/2006/relationships/tags" Target="../tags/tag124.xml"/><Relationship Id="rId9" Type="http://schemas.openxmlformats.org/officeDocument/2006/relationships/image" Target="../media/image2.emf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tags" Target="../tags/tag13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tags" Target="../tags/tag14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45.xml"/><Relationship Id="rId2" Type="http://schemas.openxmlformats.org/officeDocument/2006/relationships/tags" Target="../tags/tag144.xml"/><Relationship Id="rId1" Type="http://schemas.openxmlformats.org/officeDocument/2006/relationships/tags" Target="../tags/tag14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2" Type="http://schemas.openxmlformats.org/officeDocument/2006/relationships/tags" Target="../tags/tag153.xml"/><Relationship Id="rId1" Type="http://schemas.openxmlformats.org/officeDocument/2006/relationships/tags" Target="../tags/tag15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160.xml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163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69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2" Type="http://schemas.openxmlformats.org/officeDocument/2006/relationships/tags" Target="../tags/tag171.xml"/><Relationship Id="rId1" Type="http://schemas.openxmlformats.org/officeDocument/2006/relationships/tags" Target="../tags/tag17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75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tags" Target="../tags/tag178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184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2" Type="http://schemas.openxmlformats.org/officeDocument/2006/relationships/tags" Target="../tags/tag186.xml"/><Relationship Id="rId1" Type="http://schemas.openxmlformats.org/officeDocument/2006/relationships/tags" Target="../tags/tag18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2" Type="http://schemas.openxmlformats.org/officeDocument/2006/relationships/tags" Target="../tags/tag192.xml"/><Relationship Id="rId1" Type="http://schemas.openxmlformats.org/officeDocument/2006/relationships/tags" Target="../tags/tag19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tags" Target="../tags/tag196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2.emf"/><Relationship Id="rId2" Type="http://schemas.openxmlformats.org/officeDocument/2006/relationships/tags" Target="../tags/tag198.xml"/><Relationship Id="rId1" Type="http://schemas.openxmlformats.org/officeDocument/2006/relationships/tags" Target="../tags/tag197.xml"/><Relationship Id="rId6" Type="http://schemas.openxmlformats.org/officeDocument/2006/relationships/oleObject" Target="../embeddings/oleObject36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2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04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2" Type="http://schemas.openxmlformats.org/officeDocument/2006/relationships/tags" Target="../tags/tag206.xml"/><Relationship Id="rId1" Type="http://schemas.openxmlformats.org/officeDocument/2006/relationships/tags" Target="../tags/tag205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2" Type="http://schemas.openxmlformats.org/officeDocument/2006/relationships/tags" Target="../tags/tag209.xml"/><Relationship Id="rId1" Type="http://schemas.openxmlformats.org/officeDocument/2006/relationships/tags" Target="../tags/tag208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2" Type="http://schemas.openxmlformats.org/officeDocument/2006/relationships/tags" Target="../tags/tag212.xml"/><Relationship Id="rId1" Type="http://schemas.openxmlformats.org/officeDocument/2006/relationships/tags" Target="../tags/tag211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216.xml"/><Relationship Id="rId2" Type="http://schemas.openxmlformats.org/officeDocument/2006/relationships/tags" Target="../tags/tag215.xml"/><Relationship Id="rId1" Type="http://schemas.openxmlformats.org/officeDocument/2006/relationships/tags" Target="../tags/tag214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219.xml"/><Relationship Id="rId2" Type="http://schemas.openxmlformats.org/officeDocument/2006/relationships/tags" Target="../tags/tag218.xml"/><Relationship Id="rId1" Type="http://schemas.openxmlformats.org/officeDocument/2006/relationships/tags" Target="../tags/tag217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222.xml"/><Relationship Id="rId2" Type="http://schemas.openxmlformats.org/officeDocument/2006/relationships/tags" Target="../tags/tag221.xml"/><Relationship Id="rId1" Type="http://schemas.openxmlformats.org/officeDocument/2006/relationships/tags" Target="../tags/tag220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225.xml"/><Relationship Id="rId2" Type="http://schemas.openxmlformats.org/officeDocument/2006/relationships/tags" Target="../tags/tag224.xml"/><Relationship Id="rId1" Type="http://schemas.openxmlformats.org/officeDocument/2006/relationships/tags" Target="../tags/tag223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3.emf"/><Relationship Id="rId2" Type="http://schemas.openxmlformats.org/officeDocument/2006/relationships/tags" Target="../tags/tag227.xml"/><Relationship Id="rId1" Type="http://schemas.openxmlformats.org/officeDocument/2006/relationships/tags" Target="../tags/tag226.x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45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231.xml"/><Relationship Id="rId2" Type="http://schemas.openxmlformats.org/officeDocument/2006/relationships/tags" Target="../tags/tag230.xml"/><Relationship Id="rId1" Type="http://schemas.openxmlformats.org/officeDocument/2006/relationships/tags" Target="../tags/tag229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7" Type="http://schemas.openxmlformats.org/officeDocument/2006/relationships/image" Target="../media/image2.emf"/><Relationship Id="rId2" Type="http://schemas.openxmlformats.org/officeDocument/2006/relationships/tags" Target="../tags/tag233.xml"/><Relationship Id="rId1" Type="http://schemas.openxmlformats.org/officeDocument/2006/relationships/tags" Target="../tags/tag232.xml"/><Relationship Id="rId6" Type="http://schemas.openxmlformats.org/officeDocument/2006/relationships/oleObject" Target="../embeddings/oleObject4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7" Type="http://schemas.openxmlformats.org/officeDocument/2006/relationships/image" Target="../media/image2.emf"/><Relationship Id="rId2" Type="http://schemas.openxmlformats.org/officeDocument/2006/relationships/tags" Target="../tags/tag237.xml"/><Relationship Id="rId1" Type="http://schemas.openxmlformats.org/officeDocument/2006/relationships/tags" Target="../tags/tag236.xml"/><Relationship Id="rId6" Type="http://schemas.openxmlformats.org/officeDocument/2006/relationships/oleObject" Target="../embeddings/oleObject4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39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42.xml"/><Relationship Id="rId7" Type="http://schemas.openxmlformats.org/officeDocument/2006/relationships/oleObject" Target="../embeddings/oleObject49.bin"/><Relationship Id="rId2" Type="http://schemas.openxmlformats.org/officeDocument/2006/relationships/tags" Target="../tags/tag241.xml"/><Relationship Id="rId1" Type="http://schemas.openxmlformats.org/officeDocument/2006/relationships/tags" Target="../tags/tag240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4.xml"/><Relationship Id="rId4" Type="http://schemas.openxmlformats.org/officeDocument/2006/relationships/tags" Target="../tags/tag243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emf"/><Relationship Id="rId3" Type="http://schemas.openxmlformats.org/officeDocument/2006/relationships/tags" Target="../tags/tag247.xml"/><Relationship Id="rId7" Type="http://schemas.openxmlformats.org/officeDocument/2006/relationships/oleObject" Target="../embeddings/oleObject50.bin"/><Relationship Id="rId2" Type="http://schemas.openxmlformats.org/officeDocument/2006/relationships/tags" Target="../tags/tag246.xml"/><Relationship Id="rId1" Type="http://schemas.openxmlformats.org/officeDocument/2006/relationships/tags" Target="../tags/tag245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51.xml"/><Relationship Id="rId1" Type="http://schemas.openxmlformats.org/officeDocument/2006/relationships/tags" Target="../tags/tag250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3.png"/><Relationship Id="rId2" Type="http://schemas.openxmlformats.org/officeDocument/2006/relationships/tags" Target="../tags/tag253.xml"/><Relationship Id="rId1" Type="http://schemas.openxmlformats.org/officeDocument/2006/relationships/tags" Target="../tags/tag252.xml"/><Relationship Id="rId6" Type="http://schemas.openxmlformats.org/officeDocument/2006/relationships/image" Target="../media/image12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2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14.png"/><Relationship Id="rId2" Type="http://schemas.openxmlformats.org/officeDocument/2006/relationships/tags" Target="../tags/tag255.xml"/><Relationship Id="rId1" Type="http://schemas.openxmlformats.org/officeDocument/2006/relationships/tags" Target="../tags/tag254.xml"/><Relationship Id="rId6" Type="http://schemas.openxmlformats.org/officeDocument/2006/relationships/image" Target="../media/image4.png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3.bin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58.xml"/><Relationship Id="rId7" Type="http://schemas.openxmlformats.org/officeDocument/2006/relationships/image" Target="../media/image15.png"/><Relationship Id="rId2" Type="http://schemas.openxmlformats.org/officeDocument/2006/relationships/tags" Target="../tags/tag257.xml"/><Relationship Id="rId1" Type="http://schemas.openxmlformats.org/officeDocument/2006/relationships/tags" Target="../tags/tag256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4.bin"/><Relationship Id="rId4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61.xml"/><Relationship Id="rId7" Type="http://schemas.openxmlformats.org/officeDocument/2006/relationships/image" Target="../media/image17.png"/><Relationship Id="rId2" Type="http://schemas.openxmlformats.org/officeDocument/2006/relationships/tags" Target="../tags/tag260.xml"/><Relationship Id="rId1" Type="http://schemas.openxmlformats.org/officeDocument/2006/relationships/tags" Target="../tags/tag259.x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2.xml"/><Relationship Id="rId4" Type="http://schemas.openxmlformats.org/officeDocument/2006/relationships/image" Target="../media/image10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3.xml"/><Relationship Id="rId4" Type="http://schemas.openxmlformats.org/officeDocument/2006/relationships/image" Target="../media/image11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64.xml"/><Relationship Id="rId4" Type="http://schemas.openxmlformats.org/officeDocument/2006/relationships/image" Target="../media/image11.emf"/></Relationships>
</file>

<file path=ppt/slideLayouts/_rels/slideLayout9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26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266.xml"/><Relationship Id="rId1" Type="http://schemas.openxmlformats.org/officeDocument/2006/relationships/tags" Target="../tags/tag265.xml"/><Relationship Id="rId6" Type="http://schemas.openxmlformats.org/officeDocument/2006/relationships/tags" Target="../tags/tag270.xml"/><Relationship Id="rId5" Type="http://schemas.openxmlformats.org/officeDocument/2006/relationships/tags" Target="../tags/tag269.xml"/><Relationship Id="rId4" Type="http://schemas.openxmlformats.org/officeDocument/2006/relationships/tags" Target="../tags/tag268.xml"/><Relationship Id="rId9" Type="http://schemas.openxmlformats.org/officeDocument/2006/relationships/image" Target="../media/image2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ADA4E9A3-4F1A-458C-9B96-353601628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9BC4C58-9AD4-4531-9BC7-3A29D7FD4E8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85B7678F-63A7-4C9F-99E9-61D6450D9A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8912" y="1733550"/>
            <a:ext cx="9543288" cy="4484370"/>
          </a:xfr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64BDAAA5-70FF-402E-8CE8-90E2857E8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>
                <a:latin typeface="+mn-lt"/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D60F2666-B8A5-4993-A9F6-219612A4F209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 sz="750">
                <a:latin typeface="+mn-lt"/>
              </a:defRPr>
            </a:lvl1pPr>
          </a:lstStyle>
          <a:p>
            <a:fld id="{1D8056AF-FD6E-4B8B-A341-222BCE4CB6BF}" type="datetime4">
              <a:rPr lang="fr-FR" smtClean="0"/>
              <a:t>5 octobre 2023</a:t>
            </a:fld>
            <a:endParaRPr lang="fr-FR"/>
          </a:p>
        </p:txBody>
      </p:sp>
      <p:sp>
        <p:nvSpPr>
          <p:cNvPr id="17" name="Slide Number Placeholder 5">
            <a:extLst>
              <a:ext uri="{FF2B5EF4-FFF2-40B4-BE49-F238E27FC236}">
                <a16:creationId xmlns:a16="http://schemas.microsoft.com/office/drawing/2014/main" id="{86562EF8-11E4-436E-A8E5-82585B89D449}"/>
              </a:ext>
            </a:extLst>
          </p:cNvPr>
          <p:cNvSpPr txBox="1">
            <a:spLocks/>
          </p:cNvSpPr>
          <p:nvPr userDrawn="1"/>
        </p:nvSpPr>
        <p:spPr>
          <a:xfrm>
            <a:off x="9718687" y="6484747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898798" rtl="0" eaLnBrk="1" latinLnBrk="0" hangingPunct="1">
              <a:defRPr lang="en-GB" sz="750" kern="1200" smtClean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449395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98798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48197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97598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46992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96387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45788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95185" algn="l" defTabSz="898798" rtl="0" eaLnBrk="1" latinLnBrk="0" hangingPunct="1">
              <a:defRPr sz="97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290642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A8A6C598-B07B-4DA8-B11B-027A5FE447E6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A6DDB05-88B4-469B-B33D-09573FBEB71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42912" y="1733550"/>
            <a:ext cx="1995487" cy="448437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26FD4F6-714C-4CC3-A77A-D2EE3399515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F97C340F-8334-40CE-94F7-CA0C0BFEBFAA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E5435D24-E661-42D9-9E24-9A89D1793100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2F9D4C6B-4842-4710-AA94-89CF4F98399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1733550"/>
            <a:ext cx="1975104" cy="4484370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9" name="Footer Placeholder">
            <a:extLst>
              <a:ext uri="{FF2B5EF4-FFF2-40B4-BE49-F238E27FC236}">
                <a16:creationId xmlns:a16="http://schemas.microsoft.com/office/drawing/2014/main" id="{19FE5FF4-ED96-48D1-B8B0-ED99C6F0728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id="{DC600377-7435-442C-9FA3-088AF40F44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D59B0C61-DAAE-487E-92B3-14B1850DE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/>
              <a:t>[Slide title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FC106A9-F078-43DC-B062-A32F662335B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0" name="Date Placeholder">
            <a:extLst>
              <a:ext uri="{FF2B5EF4-FFF2-40B4-BE49-F238E27FC236}">
                <a16:creationId xmlns:a16="http://schemas.microsoft.com/office/drawing/2014/main" id="{32AB2B32-4D87-4879-9421-C2EF496D5B45}"/>
              </a:ext>
            </a:extLst>
          </p:cNvPr>
          <p:cNvSpPr>
            <a:spLocks noGrp="1"/>
          </p:cNvSpPr>
          <p:nvPr>
            <p:ph type="dt" sz="half" idx="22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B0BEF00B-148C-42FF-9FEB-725D136159B3}" type="datetime4">
              <a:rPr lang="fr-FR" smtClean="0"/>
              <a:t>5 octobre 2023</a:t>
            </a:fld>
            <a:endParaRPr lang="fr-FR"/>
          </a:p>
        </p:txBody>
      </p:sp>
      <p:sp>
        <p:nvSpPr>
          <p:cNvPr id="41" name="Slide Number Placeholder">
            <a:extLst>
              <a:ext uri="{FF2B5EF4-FFF2-40B4-BE49-F238E27FC236}">
                <a16:creationId xmlns:a16="http://schemas.microsoft.com/office/drawing/2014/main" id="{9D7075A8-A42C-4080-A31C-82DF836657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863352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F23721E5-D2E0-4D24-BEC2-A99990BEEC5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E48D8E51-1794-4DCF-9930-E8F0A16E903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2" y="1733550"/>
            <a:ext cx="3529585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1C3CC4-2EC2-4A8C-8E5C-5CB14D7820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7525" y="1733550"/>
            <a:ext cx="7421563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8A7646B4-6942-4AB8-B918-E471BBCBB02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65F7AC9F-8AEC-4145-A721-789D4A0843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0EBB30B-A4BA-491B-9121-8DBAC77E7D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B7B217-C9F1-4C78-B23E-E66D25C8BC3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31" name="Date Placeholder">
            <a:extLst>
              <a:ext uri="{FF2B5EF4-FFF2-40B4-BE49-F238E27FC236}">
                <a16:creationId xmlns:a16="http://schemas.microsoft.com/office/drawing/2014/main" id="{48A39238-B547-4662-A553-B40CDEBAE5E6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D5D34625-6E97-4BA0-9EA1-4B5425826CC5}" type="datetime4">
              <a:rPr lang="fr-FR" smtClean="0"/>
              <a:t>5 octobre 2023</a:t>
            </a:fld>
            <a:endParaRPr lang="fr-FR"/>
          </a:p>
        </p:txBody>
      </p:sp>
      <p:sp>
        <p:nvSpPr>
          <p:cNvPr id="32" name="Slide Number Placeholder">
            <a:extLst>
              <a:ext uri="{FF2B5EF4-FFF2-40B4-BE49-F238E27FC236}">
                <a16:creationId xmlns:a16="http://schemas.microsoft.com/office/drawing/2014/main" id="{D2A66F40-D090-4337-B083-1081B3FF14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5299401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F8FA9962-F114-49BC-BC96-AC8866CAED1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4D58982-3374-414E-8FB2-6CFDE353292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2" y="1733550"/>
            <a:ext cx="7418387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CFE4226-2F06-423B-A1EC-460F9571E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219504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33" name="Footer Placeholder">
            <a:extLst>
              <a:ext uri="{FF2B5EF4-FFF2-40B4-BE49-F238E27FC236}">
                <a16:creationId xmlns:a16="http://schemas.microsoft.com/office/drawing/2014/main" id="{86FFC311-F8AF-4904-B60E-A2D9987F449A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id="{946A5032-7CCE-432E-9432-78EDF21EFE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39" name="Title 4">
            <a:extLst>
              <a:ext uri="{FF2B5EF4-FFF2-40B4-BE49-F238E27FC236}">
                <a16:creationId xmlns:a16="http://schemas.microsoft.com/office/drawing/2014/main" id="{9ED94039-D8CF-4A25-A51C-1686035F6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195986A-9D34-49CB-A017-74F853B9133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41" name="Date Placeholder">
            <a:extLst>
              <a:ext uri="{FF2B5EF4-FFF2-40B4-BE49-F238E27FC236}">
                <a16:creationId xmlns:a16="http://schemas.microsoft.com/office/drawing/2014/main" id="{23BF8743-DAD7-4732-B44A-84B7C35E3A3B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0BB96165-2886-43C1-9B71-D7A6D79ACA42}" type="datetime4">
              <a:rPr lang="fr-FR" smtClean="0"/>
              <a:t>5 octobre 2023</a:t>
            </a:fld>
            <a:endParaRPr lang="fr-FR"/>
          </a:p>
        </p:txBody>
      </p:sp>
      <p:sp>
        <p:nvSpPr>
          <p:cNvPr id="42" name="Slide Number Placeholder">
            <a:extLst>
              <a:ext uri="{FF2B5EF4-FFF2-40B4-BE49-F238E27FC236}">
                <a16:creationId xmlns:a16="http://schemas.microsoft.com/office/drawing/2014/main" id="{7D15CBF5-040C-40B9-9666-6B4FCF98E5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C8AD015F-145B-4409-A2AF-08B3246854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18488" y="0"/>
            <a:ext cx="3973512" cy="6858000"/>
          </a:xfrm>
          <a:solidFill>
            <a:srgbClr val="00B0F0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E332532E-C4EF-448B-914D-519E25C5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84048"/>
            <a:ext cx="7418386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B5EF088A-C135-45C3-A628-B52B623481D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4" y="1276212"/>
            <a:ext cx="7418386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807F4F4C-9FCA-4637-8E06-F7D5A2E2B72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1" y="1733550"/>
            <a:ext cx="7422389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32" name="Footer Placeholder">
            <a:extLst>
              <a:ext uri="{FF2B5EF4-FFF2-40B4-BE49-F238E27FC236}">
                <a16:creationId xmlns:a16="http://schemas.microsoft.com/office/drawing/2014/main" id="{49844B22-D3D6-4AA7-A0D0-C2F2CC1826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3" name="Footnotes">
            <a:extLst>
              <a:ext uri="{FF2B5EF4-FFF2-40B4-BE49-F238E27FC236}">
                <a16:creationId xmlns:a16="http://schemas.microsoft.com/office/drawing/2014/main" id="{6E455100-6EAB-48FF-A67E-EEA79A735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5428996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F64CC9-EDC6-42C4-B019-4442C7A7442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38" name="Date Placeholder">
            <a:extLst>
              <a:ext uri="{FF2B5EF4-FFF2-40B4-BE49-F238E27FC236}">
                <a16:creationId xmlns:a16="http://schemas.microsoft.com/office/drawing/2014/main" id="{2E7F37D5-9A4A-4BF5-BEE4-B08D29BB901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BC350E34-09CB-43C2-9AAD-91D607CDEAF3}" type="datetime4">
              <a:rPr lang="fr-FR" smtClean="0"/>
              <a:t>5 octobre 2023</a:t>
            </a:fld>
            <a:endParaRPr lang="fr-FR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id="{304F92D2-FBEE-4C4B-8F17-4E47095EE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48748303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C8AD015F-145B-4409-A2AF-08B32468540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218488" y="0"/>
            <a:ext cx="3973512" cy="6858000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E332532E-C4EF-448B-914D-519E25C5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84048"/>
            <a:ext cx="7418386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B5EF088A-C135-45C3-A628-B52B623481D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4" y="1276212"/>
            <a:ext cx="7418386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807F4F4C-9FCA-4637-8E06-F7D5A2E2B72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1" y="1733550"/>
            <a:ext cx="7422389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32" name="Footer Placeholder">
            <a:extLst>
              <a:ext uri="{FF2B5EF4-FFF2-40B4-BE49-F238E27FC236}">
                <a16:creationId xmlns:a16="http://schemas.microsoft.com/office/drawing/2014/main" id="{49844B22-D3D6-4AA7-A0D0-C2F2CC1826B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3" name="Footnotes">
            <a:extLst>
              <a:ext uri="{FF2B5EF4-FFF2-40B4-BE49-F238E27FC236}">
                <a16:creationId xmlns:a16="http://schemas.microsoft.com/office/drawing/2014/main" id="{6E455100-6EAB-48FF-A67E-EEA79A735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5428996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F64CC9-EDC6-42C4-B019-4442C7A7442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38" name="Date Placeholder">
            <a:extLst>
              <a:ext uri="{FF2B5EF4-FFF2-40B4-BE49-F238E27FC236}">
                <a16:creationId xmlns:a16="http://schemas.microsoft.com/office/drawing/2014/main" id="{2E7F37D5-9A4A-4BF5-BEE4-B08D29BB901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BC350E34-09CB-43C2-9AAD-91D607CDEAF3}" type="datetime4">
              <a:rPr lang="fr-FR" smtClean="0"/>
              <a:t>5 octobre 2023</a:t>
            </a:fld>
            <a:endParaRPr lang="fr-FR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id="{304F92D2-FBEE-4C4B-8F17-4E47095EE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783195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 Light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F6B62B92-FBC7-464F-9B5F-EC33F9E0C8B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00B0F0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id="{A7FD347F-CFB1-408F-A57F-7AD02BE5089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2240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46E772D-B303-4807-8D0A-F50882BA2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rgbClr val="224099"/>
                </a:solidFill>
              </a:defRPr>
            </a:lvl1pPr>
          </a:lstStyle>
          <a:p>
            <a:r>
              <a:rPr lang="fr-FR" dirty="0"/>
              <a:t>[</a:t>
            </a:r>
            <a:r>
              <a:rPr lang="fr-FR" dirty="0" err="1"/>
              <a:t>Quote</a:t>
            </a:r>
            <a:r>
              <a:rPr lang="fr-FR" dirty="0"/>
              <a:t>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789552DF-0C11-4FF2-82EB-C981DB115FE4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9B8648-40AE-405C-B883-8E05E5749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12A059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AF9C800C-3180-4E9A-923A-81537DE0B29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FD0F3E81-53B8-4B9F-99B4-61E5C2C10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CA907F5C-1DA4-4727-A46B-251336C7CFAC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9A8A8380-FE97-476D-9038-845EC22C7E2F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6DD8E88D-E31B-4AAD-8233-B75C1FDC395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138A974-6329-4398-B4DA-832FB9D99D9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1004441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Quote - White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F6B62B92-FBC7-464F-9B5F-EC33F9E0C8B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id="{A7FD347F-CFB1-408F-A57F-7AD02BE5089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2240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46E772D-B303-4807-8D0A-F50882BA2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rgbClr val="224099"/>
                </a:solidFill>
              </a:defRPr>
            </a:lvl1pPr>
          </a:lstStyle>
          <a:p>
            <a:r>
              <a:rPr lang="fr-FR" dirty="0"/>
              <a:t>[</a:t>
            </a:r>
            <a:r>
              <a:rPr lang="fr-FR" dirty="0" err="1"/>
              <a:t>Quote</a:t>
            </a:r>
            <a:r>
              <a:rPr lang="fr-FR" dirty="0"/>
              <a:t>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789552DF-0C11-4FF2-82EB-C981DB115FE4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9B8648-40AE-405C-B883-8E05E574949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12A059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AF9C800C-3180-4E9A-923A-81537DE0B29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FD0F3E81-53B8-4B9F-99B4-61E5C2C10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CA907F5C-1DA4-4727-A46B-251336C7CFAC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9A8A8380-FE97-476D-9038-845EC22C7E2F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6DD8E88D-E31B-4AAD-8233-B75C1FDC395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138A974-6329-4398-B4DA-832FB9D99D9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03976957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id="{79D8C360-BC59-460F-A300-4D71FA7C6AF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>
              <a:solidFill>
                <a:schemeClr val="bg1"/>
              </a:solidFill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FBBE6317-9DCC-4252-9936-381BA8DA8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tIns="0" anchor="t" anchorCtr="0">
            <a:normAutofit/>
          </a:bodyPr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[</a:t>
            </a:r>
            <a:r>
              <a:rPr lang="fr-FR" dirty="0" err="1"/>
              <a:t>Quote</a:t>
            </a:r>
            <a:r>
              <a:rPr lang="fr-FR" dirty="0"/>
              <a:t>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1C8C16E8-214A-49C8-BD1A-854E785CF71D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C98FB46A-8D39-4AE7-BB00-789593C7B16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endParaRPr lang="fr-FR" dirty="0"/>
          </a:p>
        </p:txBody>
      </p:sp>
      <p:sp>
        <p:nvSpPr>
          <p:cNvPr id="20" name="Footer Placeholder">
            <a:extLst>
              <a:ext uri="{FF2B5EF4-FFF2-40B4-BE49-F238E27FC236}">
                <a16:creationId xmlns:a16="http://schemas.microsoft.com/office/drawing/2014/main" id="{8321C419-2B93-4E67-B192-BDF31470FC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E0778EB4-AFEC-4216-A4A2-254563ED5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30" name="Date Placeholder">
            <a:extLst>
              <a:ext uri="{FF2B5EF4-FFF2-40B4-BE49-F238E27FC236}">
                <a16:creationId xmlns:a16="http://schemas.microsoft.com/office/drawing/2014/main" id="{A9836856-9DD0-42E2-843A-E5C0AE3EBF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F8FEFF15-F0C6-49A2-A2F9-8785F3921B1A}" type="datetime4">
              <a:rPr lang="fr-FR" smtClean="0"/>
              <a:t>5 octobre 2023</a:t>
            </a:fld>
            <a:endParaRPr lang="fr-FR"/>
          </a:p>
        </p:txBody>
      </p:sp>
      <p:sp>
        <p:nvSpPr>
          <p:cNvPr id="31" name="Slide Number Placeholder">
            <a:extLst>
              <a:ext uri="{FF2B5EF4-FFF2-40B4-BE49-F238E27FC236}">
                <a16:creationId xmlns:a16="http://schemas.microsoft.com/office/drawing/2014/main" id="{88891483-1071-4ECC-A083-F506B0B5E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065253-7E6D-442A-B7E6-B4E36E218035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B5560237-821E-4AC7-B3ED-717CB1F4C46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00B0F0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 dirty="0"/>
              <a:t>Cliquez sur l'icône pour ajouter une image</a:t>
            </a:r>
          </a:p>
        </p:txBody>
      </p:sp>
    </p:spTree>
    <p:extLst>
      <p:ext uri="{BB962C8B-B14F-4D97-AF65-F5344CB8AC3E}">
        <p14:creationId xmlns:p14="http://schemas.microsoft.com/office/powerpoint/2010/main" val="35011341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365AFA-F068-4F6A-8318-0CC874145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4186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365AFA-F068-4F6A-8318-0CC874145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B43612-4317-4736-BCEF-F2812A94BA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96C746D1-3511-4B05-8501-041684CB417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6C8DE2B1-4409-40DE-8EC3-7AB4BDED7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6631D538-CCAD-4912-9A50-A08902F7F76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4AEBEA54-B784-40BE-97E4-11151279B1BB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B851240E-5052-41B6-8198-34C961A740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C56D733-09E0-4C6D-8294-3707BA5FE3E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20759D59-5943-4F1A-8AFF-5A379F74418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00B0F0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id="{86D87059-B1D0-4044-AA63-1CC75AC3EE70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17F15890-DF73-46F3-89B5-913E9C013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rgbClr val="224099"/>
                </a:solidFill>
              </a:defRPr>
            </a:lvl1pPr>
          </a:lstStyle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D9C2E857-5D1C-4C64-B0E9-BDEDBB151FC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>
                <a:solidFill>
                  <a:srgbClr val="224099"/>
                </a:solidFill>
              </a:defRPr>
            </a:lvl1pPr>
            <a:lvl2pPr marL="490537" indent="-285750">
              <a:buFont typeface="Arial" panose="020B0604020202020204" pitchFamily="34" charset="0"/>
              <a:buChar char="•"/>
              <a:defRPr sz="1400">
                <a:solidFill>
                  <a:srgbClr val="224099"/>
                </a:solidFill>
              </a:defRPr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26419975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99822E-6750-40C6-AB7F-0D51F9635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83315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99822E-6750-40C6-AB7F-0D51F9635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DEF674-4309-403C-8D9D-71384F2477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893BC74E-FE74-4C36-844E-F74BCBEF3C97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4C97B8DB-C14F-436C-8638-FD56FB43E7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id="{EBF92694-AE8C-43A0-A542-4B404D9A98CB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1C741A2-D38D-4374-8DE5-D7A0F91A8F70}" type="datetime4">
              <a:rPr lang="fr-FR" smtClean="0"/>
              <a:t>5 octobre 2023</a:t>
            </a:fld>
            <a:endParaRPr lang="fr-FR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D93BD28D-F425-4AE0-A30C-54412BAB16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ABC91C-5BEE-4DDA-B215-CCF8EC9EFA3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id="{09CBE80D-E5C7-4ABD-980A-46E2CD95CC5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5" name="Bar">
            <a:extLst>
              <a:ext uri="{FF2B5EF4-FFF2-40B4-BE49-F238E27FC236}">
                <a16:creationId xmlns:a16="http://schemas.microsoft.com/office/drawing/2014/main" id="{97AB8526-CB66-42EC-9F76-87BB7F9B61D9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66C8A994-DD7C-4F3F-8218-50D9D75C7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EF7B08DD-AF3A-46EB-990D-6F64D0FFEF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defRPr sz="1400"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 sz="14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722879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58097A6-7894-405E-9725-4C6CF2D442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8B7EF5F6-379E-4FDA-B926-AE2FCBC32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2" y="1733550"/>
            <a:ext cx="5477256" cy="4484370"/>
          </a:xfr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8CF5252-2346-4DD0-8642-B65B6A8552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2784" y="1733550"/>
            <a:ext cx="547725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22C75906-6DD8-47EA-BABE-4156FD399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950E2EC3-FA7A-BDD0-5DBB-673EDC3A35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796D9185-8DE4-EB6B-4AF0-814A223A143B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AB1D6CF9-F7BC-4491-BB44-B214B2AAF76B}" type="datetime4">
              <a:rPr lang="fr-FR" smtClean="0"/>
              <a:t>5 octobre 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36ED765-B06F-AEAB-8FC0-A36805B97AD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itl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0DBFE02-9EAB-B47A-FA9B-226AE21DE1C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id="{CBE1608A-2278-4549-B028-90DC43AF58D4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id="{D3EC0A27-2D82-48F4-A463-86C7171EFA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A10B935-9F50-4FF2-A0D7-566A3B19470F}" type="datetime4">
              <a:rPr lang="fr-FR" smtClean="0"/>
              <a:t>5 octobre 2023</a:t>
            </a:fld>
            <a:endParaRPr lang="fr-FR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2743200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Cliquez sur l'icône pour ajouter une imag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2743200"/>
            <a:ext cx="12191999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063240"/>
            <a:ext cx="3529012" cy="315468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FEE9F0-7766-418C-A69A-F8A0F3DE96E5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2286" y="3063240"/>
            <a:ext cx="3529013" cy="315468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BF25BBA-2140-4A9E-8688-FD1362C0B8F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073" y="3063240"/>
            <a:ext cx="3529013" cy="3154680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44191004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3" name="Title">
            <a:extLst>
              <a:ext uri="{FF2B5EF4-FFF2-40B4-BE49-F238E27FC236}">
                <a16:creationId xmlns:a16="http://schemas.microsoft.com/office/drawing/2014/main" id="{4A39002C-56A5-4F92-B559-A5A216D81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D019EA75-2970-4D89-AA4E-98EF0C50724E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6" name="Picture Placeholder 1">
            <a:extLst>
              <a:ext uri="{FF2B5EF4-FFF2-40B4-BE49-F238E27FC236}">
                <a16:creationId xmlns:a16="http://schemas.microsoft.com/office/drawing/2014/main" id="{13A0AA42-117B-4891-B3D4-1F96CBC6B95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42911" y="1733550"/>
            <a:ext cx="352958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id="{1184213B-25F1-4DC5-8C67-A5439FA06302}"/>
              </a:ext>
            </a:extLst>
          </p:cNvPr>
          <p:cNvSpPr/>
          <p:nvPr userDrawn="1"/>
        </p:nvSpPr>
        <p:spPr bwMode="hidden">
          <a:xfrm>
            <a:off x="442344" y="3562350"/>
            <a:ext cx="352876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98076474-F2BF-4EE5-B150-2922B3698FD7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42913" y="3840480"/>
            <a:ext cx="3528764" cy="2377440"/>
          </a:xfrm>
        </p:spPr>
        <p:txBody>
          <a:bodyPr/>
          <a:lstStyle>
            <a:lvl1pPr marL="0" indent="0">
              <a:buNone/>
              <a:defRPr b="1">
                <a:solidFill>
                  <a:srgbClr val="224099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218EB9A3-E677-4A34-859C-1B4F5B4AA49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1494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id="{722A9449-DE35-4A03-AC35-E8FFD255AE08}"/>
              </a:ext>
            </a:extLst>
          </p:cNvPr>
          <p:cNvSpPr/>
          <p:nvPr userDrawn="1"/>
        </p:nvSpPr>
        <p:spPr bwMode="hidden">
          <a:xfrm>
            <a:off x="4330678" y="3562350"/>
            <a:ext cx="352876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36DCA40-378D-4008-B41E-2088E4AA3030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4331743" y="3840480"/>
            <a:ext cx="3528764" cy="2377440"/>
          </a:xfrm>
        </p:spPr>
        <p:txBody>
          <a:bodyPr/>
          <a:lstStyle>
            <a:lvl1pPr marL="0" indent="0">
              <a:buNone/>
              <a:defRPr b="1">
                <a:solidFill>
                  <a:srgbClr val="224099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8FD387C5-B8B4-4ACC-BCCF-EB1FDFEEADB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220075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0" name="Bar 3">
            <a:extLst>
              <a:ext uri="{FF2B5EF4-FFF2-40B4-BE49-F238E27FC236}">
                <a16:creationId xmlns:a16="http://schemas.microsoft.com/office/drawing/2014/main" id="{A3B119D7-40DB-41B6-B2CD-855764002626}"/>
              </a:ext>
            </a:extLst>
          </p:cNvPr>
          <p:cNvSpPr/>
          <p:nvPr userDrawn="1"/>
        </p:nvSpPr>
        <p:spPr bwMode="hidden">
          <a:xfrm>
            <a:off x="8219507" y="3562350"/>
            <a:ext cx="352876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00C0FA4-BBAB-402C-BFB0-B771616CD5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8220324" y="3840480"/>
            <a:ext cx="3528764" cy="2377440"/>
          </a:xfrm>
        </p:spPr>
        <p:txBody>
          <a:bodyPr/>
          <a:lstStyle>
            <a:lvl1pPr marL="0" indent="0">
              <a:buNone/>
              <a:defRPr b="1">
                <a:solidFill>
                  <a:srgbClr val="224099"/>
                </a:solidFill>
              </a:defRPr>
            </a:lvl1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42" name="Footer Placeholder">
            <a:extLst>
              <a:ext uri="{FF2B5EF4-FFF2-40B4-BE49-F238E27FC236}">
                <a16:creationId xmlns:a16="http://schemas.microsoft.com/office/drawing/2014/main" id="{72F90488-1FFA-45D4-BDDE-EDF33126402F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43" name="Footnotes">
            <a:extLst>
              <a:ext uri="{FF2B5EF4-FFF2-40B4-BE49-F238E27FC236}">
                <a16:creationId xmlns:a16="http://schemas.microsoft.com/office/drawing/2014/main" id="{7A3EC94A-8B92-479D-A515-EEA67947AF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44" name="Date Placeholder">
            <a:extLst>
              <a:ext uri="{FF2B5EF4-FFF2-40B4-BE49-F238E27FC236}">
                <a16:creationId xmlns:a16="http://schemas.microsoft.com/office/drawing/2014/main" id="{8A8B229F-E5C8-4D63-AFC3-D05FFDE9ED5A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EB57296E-78AE-4E6E-8D75-1C7052C37120}" type="datetime4">
              <a:rPr lang="fr-FR" smtClean="0"/>
              <a:t>5 octobre 2023</a:t>
            </a:fld>
            <a:endParaRPr lang="fr-FR"/>
          </a:p>
        </p:txBody>
      </p:sp>
      <p:sp>
        <p:nvSpPr>
          <p:cNvPr id="45" name="Slide Number Placeholder">
            <a:extLst>
              <a:ext uri="{FF2B5EF4-FFF2-40B4-BE49-F238E27FC236}">
                <a16:creationId xmlns:a16="http://schemas.microsoft.com/office/drawing/2014/main" id="{BA01A5F1-C803-42C4-8653-66726D1990B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16C15E3-A678-4F28-82FF-0802ABC474F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8223352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8D7FEC9B-7B31-4C01-9A0C-5F61002446F1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:a16="http://schemas.microsoft.com/office/drawing/2014/main" id="{370B3877-9D4C-4E2A-B3FC-81C2122C6D6E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4291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8" name="Bar 1">
            <a:extLst>
              <a:ext uri="{FF2B5EF4-FFF2-40B4-BE49-F238E27FC236}">
                <a16:creationId xmlns:a16="http://schemas.microsoft.com/office/drawing/2014/main" id="{38FDCF58-CB20-492E-8FCF-5DE1A704F7A4}"/>
              </a:ext>
            </a:extLst>
          </p:cNvPr>
          <p:cNvSpPr/>
          <p:nvPr userDrawn="1"/>
        </p:nvSpPr>
        <p:spPr bwMode="hidden">
          <a:xfrm>
            <a:off x="442913" y="3562350"/>
            <a:ext cx="197485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BE509E6-D645-4FFE-8A65-BE696EE75EDB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42914" y="3836669"/>
            <a:ext cx="197485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488F59C-9FE7-4A1C-B580-456D3DB85B3C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777045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id="{3C0EFAD3-D83B-41C9-A95D-A94F256674C7}"/>
              </a:ext>
            </a:extLst>
          </p:cNvPr>
          <p:cNvSpPr/>
          <p:nvPr userDrawn="1"/>
        </p:nvSpPr>
        <p:spPr bwMode="hidden">
          <a:xfrm>
            <a:off x="2777045" y="3562350"/>
            <a:ext cx="197485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4CBB381-B316-4B43-A22E-B731263FD07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777045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04C58B0-CFBF-465E-8547-49071BA722E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5111177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4" name="Bar 3">
            <a:extLst>
              <a:ext uri="{FF2B5EF4-FFF2-40B4-BE49-F238E27FC236}">
                <a16:creationId xmlns:a16="http://schemas.microsoft.com/office/drawing/2014/main" id="{05836A6A-2947-48D3-86DC-F256B7FBBEC9}"/>
              </a:ext>
            </a:extLst>
          </p:cNvPr>
          <p:cNvSpPr/>
          <p:nvPr userDrawn="1"/>
        </p:nvSpPr>
        <p:spPr bwMode="hidden">
          <a:xfrm>
            <a:off x="5111177" y="3562350"/>
            <a:ext cx="197485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AA7CE8B4-2FCD-4D60-A148-83D9930A01D7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5111177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C71971D6-0F3D-490B-922E-492147F12C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7445309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7" name="Bar 4">
            <a:extLst>
              <a:ext uri="{FF2B5EF4-FFF2-40B4-BE49-F238E27FC236}">
                <a16:creationId xmlns:a16="http://schemas.microsoft.com/office/drawing/2014/main" id="{C3C3A688-2809-4607-AD0B-93E1B7A0B3F3}"/>
              </a:ext>
            </a:extLst>
          </p:cNvPr>
          <p:cNvSpPr/>
          <p:nvPr userDrawn="1"/>
        </p:nvSpPr>
        <p:spPr bwMode="hidden">
          <a:xfrm>
            <a:off x="7445309" y="3562350"/>
            <a:ext cx="197485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8B350110-0389-47FB-9977-1127764263F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7445309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89F5C50C-7AB3-49DF-8567-1888ED31FBB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77944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47" name="Bar 5">
            <a:extLst>
              <a:ext uri="{FF2B5EF4-FFF2-40B4-BE49-F238E27FC236}">
                <a16:creationId xmlns:a16="http://schemas.microsoft.com/office/drawing/2014/main" id="{ED06749E-EC64-4656-8526-54F4608831F7}"/>
              </a:ext>
            </a:extLst>
          </p:cNvPr>
          <p:cNvSpPr/>
          <p:nvPr userDrawn="1"/>
        </p:nvSpPr>
        <p:spPr bwMode="hidden">
          <a:xfrm>
            <a:off x="9779443" y="3562350"/>
            <a:ext cx="1974855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id="{4D70AECD-D452-4562-851B-8D91FE461FAF}"/>
              </a:ext>
            </a:extLst>
          </p:cNvPr>
          <p:cNvSpPr>
            <a:spLocks noGrp="1"/>
          </p:cNvSpPr>
          <p:nvPr>
            <p:ph sz="half" idx="15"/>
          </p:nvPr>
        </p:nvSpPr>
        <p:spPr>
          <a:xfrm>
            <a:off x="9779443" y="3838575"/>
            <a:ext cx="1975104" cy="2379346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9" name="Footer Placeholder">
            <a:extLst>
              <a:ext uri="{FF2B5EF4-FFF2-40B4-BE49-F238E27FC236}">
                <a16:creationId xmlns:a16="http://schemas.microsoft.com/office/drawing/2014/main" id="{60E21D1C-F3EA-4179-ACFA-0DDCD78958C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50" name="Footnotes">
            <a:extLst>
              <a:ext uri="{FF2B5EF4-FFF2-40B4-BE49-F238E27FC236}">
                <a16:creationId xmlns:a16="http://schemas.microsoft.com/office/drawing/2014/main" id="{924132E7-EC15-447E-81C7-12480B5AC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51" name="Date Placeholder">
            <a:extLst>
              <a:ext uri="{FF2B5EF4-FFF2-40B4-BE49-F238E27FC236}">
                <a16:creationId xmlns:a16="http://schemas.microsoft.com/office/drawing/2014/main" id="{1DAEF538-8B62-4C14-96AB-31CF9B7F4DA3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1AD92B2F-C36A-4D3C-9D4D-A48234BED1FF}" type="datetime4">
              <a:rPr lang="fr-FR" smtClean="0"/>
              <a:t>5 octobre 2023</a:t>
            </a:fld>
            <a:endParaRPr lang="fr-FR"/>
          </a:p>
        </p:txBody>
      </p:sp>
      <p:sp>
        <p:nvSpPr>
          <p:cNvPr id="52" name="Slide Number Placeholder">
            <a:extLst>
              <a:ext uri="{FF2B5EF4-FFF2-40B4-BE49-F238E27FC236}">
                <a16:creationId xmlns:a16="http://schemas.microsoft.com/office/drawing/2014/main" id="{DE977969-C0EE-43EE-8252-A8AAFA86880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3" name="Title 2">
            <a:extLst>
              <a:ext uri="{FF2B5EF4-FFF2-40B4-BE49-F238E27FC236}">
                <a16:creationId xmlns:a16="http://schemas.microsoft.com/office/drawing/2014/main" id="{3B6CFD3D-8AA2-4F37-ACEB-AD04988DC6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/>
              <a:t>[Slide title]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E215E4-16E4-43EC-87EB-269195EF6E6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67449235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FC78CD7-E393-46A1-B4EC-0138BA781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D4BC79-97E4-4125-9363-4EAF7016EF33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8" name="Box">
            <a:extLst>
              <a:ext uri="{FF2B5EF4-FFF2-40B4-BE49-F238E27FC236}">
                <a16:creationId xmlns:a16="http://schemas.microsoft.com/office/drawing/2014/main" id="{68AD8945-1801-4BE9-ADA0-05193390497E}"/>
              </a:ext>
            </a:extLst>
          </p:cNvPr>
          <p:cNvSpPr/>
          <p:nvPr userDrawn="1"/>
        </p:nvSpPr>
        <p:spPr bwMode="hidden">
          <a:xfrm>
            <a:off x="0" y="1733550"/>
            <a:ext cx="3971925" cy="448310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6DB8C33-15CE-4C80-BB96-4A44D280C9C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42913" y="1917290"/>
            <a:ext cx="3328985" cy="4113716"/>
          </a:xfrm>
        </p:spPr>
        <p:txBody>
          <a:bodyPr anchor="ctr" anchorCtr="0">
            <a:noAutofit/>
          </a:bodyPr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1"/>
            <a:endParaRPr lang="fr-FR" dirty="0"/>
          </a:p>
        </p:txBody>
      </p:sp>
      <p:sp>
        <p:nvSpPr>
          <p:cNvPr id="22" name="Chart Placeholder 1">
            <a:extLst>
              <a:ext uri="{FF2B5EF4-FFF2-40B4-BE49-F238E27FC236}">
                <a16:creationId xmlns:a16="http://schemas.microsoft.com/office/drawing/2014/main" id="{A91DCA48-D620-4112-A4CC-F27A227B1865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327525" y="1733550"/>
            <a:ext cx="7421563" cy="4483100"/>
          </a:xfrm>
        </p:spPr>
        <p:txBody>
          <a:bodyPr anchor="ctr" anchorCtr="0"/>
          <a:lstStyle>
            <a:lvl1pPr marL="0" indent="0" algn="ctr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id="{4D2F2F4A-C931-433E-9F0C-9B1A5CCE312B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pPr algn="l"/>
            <a:r>
              <a:rPr lang="fr-FR"/>
              <a:t>Title</a:t>
            </a:r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id="{122F3D9D-5A9E-4A56-A975-1689B32949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25" name="Date Placeholder">
            <a:extLst>
              <a:ext uri="{FF2B5EF4-FFF2-40B4-BE49-F238E27FC236}">
                <a16:creationId xmlns:a16="http://schemas.microsoft.com/office/drawing/2014/main" id="{25CD2058-A75D-4357-88EE-CE0F9565E03B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6BF87639-5E5C-4DA9-A146-1D9912641AED}" type="datetime4">
              <a:rPr lang="fr-FR" smtClean="0"/>
              <a:t>5 octobre 2023</a:t>
            </a:fld>
            <a:endParaRPr lang="fr-FR"/>
          </a:p>
        </p:txBody>
      </p:sp>
      <p:sp>
        <p:nvSpPr>
          <p:cNvPr id="26" name="Slide Number Placeholder">
            <a:extLst>
              <a:ext uri="{FF2B5EF4-FFF2-40B4-BE49-F238E27FC236}">
                <a16:creationId xmlns:a16="http://schemas.microsoft.com/office/drawing/2014/main" id="{BB93965D-099A-4511-A18D-02C4691380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53F1AE-E1CD-44BB-AB42-4C594C658A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40220315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id="{F5B2D154-2370-481A-B0AA-457AF5FBC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/>
              <a:t>[Slide title]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11A1DE4C-F71A-4CAE-B024-F5A2566A5C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33" name="Burgundy">
            <a:extLst>
              <a:ext uri="{FF2B5EF4-FFF2-40B4-BE49-F238E27FC236}">
                <a16:creationId xmlns:a16="http://schemas.microsoft.com/office/drawing/2014/main" id="{0031720A-D9A0-442F-B39B-FDA12B5EC947}"/>
              </a:ext>
            </a:extLst>
          </p:cNvPr>
          <p:cNvSpPr/>
          <p:nvPr userDrawn="1"/>
        </p:nvSpPr>
        <p:spPr bwMode="gray">
          <a:xfrm>
            <a:off x="442912" y="1733550"/>
            <a:ext cx="5653088" cy="224028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48A832DB-400D-4211-ABEF-F7B6F91442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672" y="2011679"/>
            <a:ext cx="1627632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FDAC9D8-BF0F-41AD-94D7-9AF332688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4672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D5402FF-B3B9-4CED-8375-42052C542F1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565403" y="2739509"/>
            <a:ext cx="3351210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7" name="Rose">
            <a:extLst>
              <a:ext uri="{FF2B5EF4-FFF2-40B4-BE49-F238E27FC236}">
                <a16:creationId xmlns:a16="http://schemas.microsoft.com/office/drawing/2014/main" id="{C96FA1DE-F660-4902-A478-BC7C1D335C81}"/>
              </a:ext>
            </a:extLst>
          </p:cNvPr>
          <p:cNvSpPr/>
          <p:nvPr userDrawn="1"/>
        </p:nvSpPr>
        <p:spPr bwMode="gray">
          <a:xfrm>
            <a:off x="6096000" y="1733550"/>
            <a:ext cx="5653087" cy="224028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560F74C7-5F34-453C-B89C-19F426140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7759" y="201167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50B63667-FE03-4D29-AB64-195998FC9D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7759" y="273950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DC4F1A0-03B9-4C5E-8E54-4381496C913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218489" y="2739509"/>
            <a:ext cx="3351211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4" name="Black">
            <a:extLst>
              <a:ext uri="{FF2B5EF4-FFF2-40B4-BE49-F238E27FC236}">
                <a16:creationId xmlns:a16="http://schemas.microsoft.com/office/drawing/2014/main" id="{BB78BF81-8DA3-453F-AA81-35BB68DCC132}"/>
              </a:ext>
            </a:extLst>
          </p:cNvPr>
          <p:cNvSpPr/>
          <p:nvPr userDrawn="1"/>
        </p:nvSpPr>
        <p:spPr bwMode="gray">
          <a:xfrm>
            <a:off x="442912" y="3973830"/>
            <a:ext cx="5653088" cy="224282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143CAAF-AE6C-4BF2-BCBC-429E77AD942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72" y="4251959"/>
            <a:ext cx="16276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B12AE691-2586-4305-A357-7671A880A1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4672" y="4979788"/>
            <a:ext cx="1627632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CD8CBFD9-30DD-4F1B-88A2-5A1DFF75889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565403" y="4979789"/>
            <a:ext cx="3351209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8" name="Grey">
            <a:extLst>
              <a:ext uri="{FF2B5EF4-FFF2-40B4-BE49-F238E27FC236}">
                <a16:creationId xmlns:a16="http://schemas.microsoft.com/office/drawing/2014/main" id="{C4A8B99B-4545-49C0-BA40-1F71EA9850FA}"/>
              </a:ext>
            </a:extLst>
          </p:cNvPr>
          <p:cNvSpPr/>
          <p:nvPr userDrawn="1"/>
        </p:nvSpPr>
        <p:spPr bwMode="gray">
          <a:xfrm>
            <a:off x="6096000" y="3973830"/>
            <a:ext cx="5653086" cy="2242820"/>
          </a:xfrm>
          <a:prstGeom prst="rect">
            <a:avLst/>
          </a:prstGeom>
          <a:solidFill>
            <a:srgbClr val="1EC0EB"/>
          </a:solidFill>
          <a:ln>
            <a:solidFill>
              <a:srgbClr val="1EC0EB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C156CCCB-0329-4DB0-A8D8-42E40A83AC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7759" y="4251959"/>
            <a:ext cx="1627631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F2DCF84B-8773-433C-97C7-8219734F37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7759" y="4979788"/>
            <a:ext cx="1627631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6F57D613-8BC5-4EAD-B2C0-3B9A63A4A494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218489" y="4979789"/>
            <a:ext cx="3351212" cy="104872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2" name="Footer Placeholder">
            <a:extLst>
              <a:ext uri="{FF2B5EF4-FFF2-40B4-BE49-F238E27FC236}">
                <a16:creationId xmlns:a16="http://schemas.microsoft.com/office/drawing/2014/main" id="{FC586B54-5163-4441-8FC8-A36EA441E4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63" name="Footnotes">
            <a:extLst>
              <a:ext uri="{FF2B5EF4-FFF2-40B4-BE49-F238E27FC236}">
                <a16:creationId xmlns:a16="http://schemas.microsoft.com/office/drawing/2014/main" id="{2F835EEC-E9C9-4FF3-96A0-E6CA4B3CC2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64" name="Date Placeholder">
            <a:extLst>
              <a:ext uri="{FF2B5EF4-FFF2-40B4-BE49-F238E27FC236}">
                <a16:creationId xmlns:a16="http://schemas.microsoft.com/office/drawing/2014/main" id="{4FA4E23C-EB91-4837-8737-1FE657FBE41B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1EFDD5D2-93AE-4C72-A4A0-5E68226C1314}" type="datetime4">
              <a:rPr lang="fr-FR" smtClean="0"/>
              <a:t>5 octobre 2023</a:t>
            </a:fld>
            <a:endParaRPr lang="fr-FR"/>
          </a:p>
        </p:txBody>
      </p:sp>
      <p:sp>
        <p:nvSpPr>
          <p:cNvPr id="65" name="Slide Number Placeholder">
            <a:extLst>
              <a:ext uri="{FF2B5EF4-FFF2-40B4-BE49-F238E27FC236}">
                <a16:creationId xmlns:a16="http://schemas.microsoft.com/office/drawing/2014/main" id="{63DA4632-4942-4DD5-A127-7073D31A5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72D0949-98EA-490F-8648-B1556508975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50822618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3D74EFF-FF7B-410B-AD83-53FE1C6BB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572CB100-EC1A-4E66-8C24-8C2464189244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32" name="Burgundy">
            <a:extLst>
              <a:ext uri="{FF2B5EF4-FFF2-40B4-BE49-F238E27FC236}">
                <a16:creationId xmlns:a16="http://schemas.microsoft.com/office/drawing/2014/main" id="{6229BF2B-D0A5-40CF-B89C-3F4A7587E133}"/>
              </a:ext>
            </a:extLst>
          </p:cNvPr>
          <p:cNvSpPr/>
          <p:nvPr userDrawn="1"/>
        </p:nvSpPr>
        <p:spPr bwMode="gray">
          <a:xfrm>
            <a:off x="442912" y="1733550"/>
            <a:ext cx="2058414" cy="2059736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2AA6B46A-92C1-49BD-8C82-5E4C271DF9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1792" y="2011679"/>
            <a:ext cx="1691640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C3BC95F-44A6-4CFB-A054-CA74BDDB3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300" y="2743198"/>
            <a:ext cx="1691132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89BE4DE-C236-4029-835D-20A03AC477C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725355" y="1733549"/>
            <a:ext cx="3191257" cy="205353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37" name="Rose">
            <a:extLst>
              <a:ext uri="{FF2B5EF4-FFF2-40B4-BE49-F238E27FC236}">
                <a16:creationId xmlns:a16="http://schemas.microsoft.com/office/drawing/2014/main" id="{110512FB-8A72-499A-B5C9-2886F5EFBDD9}"/>
              </a:ext>
            </a:extLst>
          </p:cNvPr>
          <p:cNvSpPr/>
          <p:nvPr userDrawn="1"/>
        </p:nvSpPr>
        <p:spPr bwMode="gray">
          <a:xfrm>
            <a:off x="6275389" y="1733550"/>
            <a:ext cx="2057400" cy="205740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15288D2-6E3F-4A35-990C-0999E2A323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5664" y="2011679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2A80134F-E3FA-4E07-9929-0CB6E31BC4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5664" y="2743199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FF2FDBE-8805-4229-82C0-E29CB7A8D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8557830" y="1733550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5" name="Black">
            <a:extLst>
              <a:ext uri="{FF2B5EF4-FFF2-40B4-BE49-F238E27FC236}">
                <a16:creationId xmlns:a16="http://schemas.microsoft.com/office/drawing/2014/main" id="{FDFF9054-2CEA-4103-8654-460168B2B7B5}"/>
              </a:ext>
            </a:extLst>
          </p:cNvPr>
          <p:cNvSpPr/>
          <p:nvPr userDrawn="1"/>
        </p:nvSpPr>
        <p:spPr bwMode="gray">
          <a:xfrm>
            <a:off x="442912" y="4137557"/>
            <a:ext cx="2058414" cy="2057605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22442A2E-D4B1-4D99-8534-3757357714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2300" y="4434840"/>
            <a:ext cx="1691132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00CA332C-8208-4BE8-9F59-62F37671FC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2299" y="5166360"/>
            <a:ext cx="1691131" cy="877824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AEDCE0A-0E60-4CB3-8289-495A7D79935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725357" y="4158181"/>
            <a:ext cx="3191256" cy="2057400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49" name="Grey">
            <a:extLst>
              <a:ext uri="{FF2B5EF4-FFF2-40B4-BE49-F238E27FC236}">
                <a16:creationId xmlns:a16="http://schemas.microsoft.com/office/drawing/2014/main" id="{F90D5AA0-0AF5-47FC-82E5-2E2DF3FCA1AA}"/>
              </a:ext>
            </a:extLst>
          </p:cNvPr>
          <p:cNvSpPr/>
          <p:nvPr userDrawn="1"/>
        </p:nvSpPr>
        <p:spPr bwMode="gray">
          <a:xfrm>
            <a:off x="6275389" y="4159249"/>
            <a:ext cx="2057400" cy="2057400"/>
          </a:xfrm>
          <a:prstGeom prst="rect">
            <a:avLst/>
          </a:prstGeom>
          <a:solidFill>
            <a:srgbClr val="1EC0EB"/>
          </a:solidFill>
          <a:ln>
            <a:solidFill>
              <a:srgbClr val="224099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FA7BE08E-6346-41D7-8F6A-DD0100B7D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5664" y="4434840"/>
            <a:ext cx="169164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0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507D46D2-BC62-4C26-BFA4-E7CD7A386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5664" y="5166361"/>
            <a:ext cx="1691640" cy="86868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[Category Name]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86E717D4-4105-4F19-AEAC-1D319BCFE81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8557830" y="4158180"/>
            <a:ext cx="3191256" cy="2058467"/>
          </a:xfrm>
        </p:spPr>
        <p:txBody>
          <a:bodyPr>
            <a:noAutofit/>
          </a:bodyPr>
          <a:lstStyle>
            <a:lvl1pPr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3" name="Footer Placeholder">
            <a:extLst>
              <a:ext uri="{FF2B5EF4-FFF2-40B4-BE49-F238E27FC236}">
                <a16:creationId xmlns:a16="http://schemas.microsoft.com/office/drawing/2014/main" id="{1F11D822-349A-494D-A2EA-34CA9A43714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54" name="Footnotes">
            <a:extLst>
              <a:ext uri="{FF2B5EF4-FFF2-40B4-BE49-F238E27FC236}">
                <a16:creationId xmlns:a16="http://schemas.microsoft.com/office/drawing/2014/main" id="{4D6CC890-D77A-4F07-887C-72ECF79E64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55" name="Date Placeholder">
            <a:extLst>
              <a:ext uri="{FF2B5EF4-FFF2-40B4-BE49-F238E27FC236}">
                <a16:creationId xmlns:a16="http://schemas.microsoft.com/office/drawing/2014/main" id="{3C747814-0247-42D1-A3E1-A46C7F9264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C3E8083F-8D8A-4E87-AE16-D04107A7C7E8}" type="datetime4">
              <a:rPr lang="fr-FR" smtClean="0"/>
              <a:t>5 octobre 2023</a:t>
            </a:fld>
            <a:endParaRPr lang="fr-FR"/>
          </a:p>
        </p:txBody>
      </p:sp>
      <p:sp>
        <p:nvSpPr>
          <p:cNvPr id="56" name="Slide Number Placeholder">
            <a:extLst>
              <a:ext uri="{FF2B5EF4-FFF2-40B4-BE49-F238E27FC236}">
                <a16:creationId xmlns:a16="http://schemas.microsoft.com/office/drawing/2014/main" id="{F81032DE-BCD4-42AB-8493-DAA3C7646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76967E6-EEA2-4490-B38C-3F9A2991F00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88273587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F26B211B-B8AD-421F-B9F1-8AA9C9343AA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06149A-A055-4AEF-8F90-E5FD62D2A788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42912" y="1733550"/>
            <a:ext cx="11306173" cy="505385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</p:txBody>
      </p:sp>
      <p:sp>
        <p:nvSpPr>
          <p:cNvPr id="31" name="Picture Placeholder 1">
            <a:extLst>
              <a:ext uri="{FF2B5EF4-FFF2-40B4-BE49-F238E27FC236}">
                <a16:creationId xmlns:a16="http://schemas.microsoft.com/office/drawing/2014/main" id="{25AEDDF7-8196-4660-AA17-DB5D4CDDEB0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2913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C4181777-ADC0-468B-A839-09E0EBA3D02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5681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C6CA1167-F834-473A-8ACB-0AD6E471D05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08449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D4595A66-6E7F-495D-93E3-6D7E891E18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441217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D2151552-4523-48A8-923D-75A69FE4FD2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773984" y="2386584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2FFF1882-6B4E-4E7B-8B15-9B47FBE4BE3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42913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9A840D6B-CFC2-4BFB-B0EB-D4EAC4820B1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75681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3" name="Picture Placeholder 8">
            <a:extLst>
              <a:ext uri="{FF2B5EF4-FFF2-40B4-BE49-F238E27FC236}">
                <a16:creationId xmlns:a16="http://schemas.microsoft.com/office/drawing/2014/main" id="{D49D9BBB-8DDC-4E1F-92EF-C6DD89A8435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8449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E8E0BE01-E505-4475-BD56-D3C236DC890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217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A76A2FF1-3EE3-41BB-8CCE-869A646A8B1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73984" y="3721608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BED9B6C5-A70B-49B8-B498-FBEB9494539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42913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:a16="http://schemas.microsoft.com/office/drawing/2014/main" id="{C11C680E-92F3-47F0-A44A-3F23B70F8A8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75681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85FCF722-08FE-4E2D-84DA-B266DA25127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08449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49" name="Picture Placeholder 14">
            <a:extLst>
              <a:ext uri="{FF2B5EF4-FFF2-40B4-BE49-F238E27FC236}">
                <a16:creationId xmlns:a16="http://schemas.microsoft.com/office/drawing/2014/main" id="{ED112498-443A-425A-812F-37BC37F0070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441217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50" name="Picture Placeholder 15">
            <a:extLst>
              <a:ext uri="{FF2B5EF4-FFF2-40B4-BE49-F238E27FC236}">
                <a16:creationId xmlns:a16="http://schemas.microsoft.com/office/drawing/2014/main" id="{4A581588-5A64-4BEC-95FE-ADB89AEC037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773984" y="5073650"/>
            <a:ext cx="1975104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ck icon to add logo</a:t>
            </a:r>
          </a:p>
        </p:txBody>
      </p:sp>
      <p:sp>
        <p:nvSpPr>
          <p:cNvPr id="51" name="Footer Placeholder">
            <a:extLst>
              <a:ext uri="{FF2B5EF4-FFF2-40B4-BE49-F238E27FC236}">
                <a16:creationId xmlns:a16="http://schemas.microsoft.com/office/drawing/2014/main" id="{E425A877-10DF-4485-82F3-A72D607950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52" name="Footnotes">
            <a:extLst>
              <a:ext uri="{FF2B5EF4-FFF2-40B4-BE49-F238E27FC236}">
                <a16:creationId xmlns:a16="http://schemas.microsoft.com/office/drawing/2014/main" id="{FDFFC24D-666C-4CBB-8126-221EBE1363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53" name="Date Placeholder">
            <a:extLst>
              <a:ext uri="{FF2B5EF4-FFF2-40B4-BE49-F238E27FC236}">
                <a16:creationId xmlns:a16="http://schemas.microsoft.com/office/drawing/2014/main" id="{4BD46079-283A-4E99-BE0F-25553410869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F17EDD43-05D3-45CA-BE68-E5A41A14B06C}" type="datetime4">
              <a:rPr lang="fr-FR" smtClean="0"/>
              <a:t>5 octobre 2023</a:t>
            </a:fld>
            <a:endParaRPr lang="fr-FR"/>
          </a:p>
        </p:txBody>
      </p:sp>
      <p:sp>
        <p:nvSpPr>
          <p:cNvPr id="54" name="Slide Number Placeholder">
            <a:extLst>
              <a:ext uri="{FF2B5EF4-FFF2-40B4-BE49-F238E27FC236}">
                <a16:creationId xmlns:a16="http://schemas.microsoft.com/office/drawing/2014/main" id="{3660A9AA-CF74-495D-AE9C-3F2C8242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A268D81A-3D60-403A-A361-48313072A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/>
              <a:t>[Slide title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832F835-61B0-404A-9AE2-B04D65D6996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30370048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A1E8EF63-4F25-441F-BCE9-708B2C9458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58422387-42AA-419F-84C6-80C43DF78CE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BD0DADE5-B706-4EF7-8418-64A7C2AADF56}"/>
              </a:ext>
            </a:extLst>
          </p:cNvPr>
          <p:cNvSpPr/>
          <p:nvPr userDrawn="1"/>
        </p:nvSpPr>
        <p:spPr bwMode="auto">
          <a:xfrm>
            <a:off x="442912" y="2971800"/>
            <a:ext cx="5473701" cy="457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F3225C34-4307-4BE4-AB0F-B5E5CF3ECB6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2" y="3154680"/>
            <a:ext cx="5477256" cy="3063240"/>
          </a:xfr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id="{976217AA-465C-465D-9E02-690BE8A7DA22}"/>
              </a:ext>
            </a:extLst>
          </p:cNvPr>
          <p:cNvSpPr/>
          <p:nvPr userDrawn="1"/>
        </p:nvSpPr>
        <p:spPr bwMode="auto">
          <a:xfrm>
            <a:off x="6276339" y="2971800"/>
            <a:ext cx="5473701" cy="457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7658B0B9-D020-42AC-8CBA-DE9329126D3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2784" y="3154677"/>
            <a:ext cx="5477256" cy="306324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id="{037C40D4-3FC9-46D2-A016-4D605D8C62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id="{CEE8C7B1-F721-4981-9691-AA59AB127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33" name="Date Placeholder">
            <a:extLst>
              <a:ext uri="{FF2B5EF4-FFF2-40B4-BE49-F238E27FC236}">
                <a16:creationId xmlns:a16="http://schemas.microsoft.com/office/drawing/2014/main" id="{4CADE2F5-3282-4EC7-9A31-D890241149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8E3C9EF5-3691-4481-9D81-F2AE93809F44}" type="datetime4">
              <a:rPr lang="fr-FR" smtClean="0"/>
              <a:t>5 octobre 2023</a:t>
            </a:fld>
            <a:endParaRPr lang="fr-FR"/>
          </a:p>
        </p:txBody>
      </p:sp>
      <p:sp>
        <p:nvSpPr>
          <p:cNvPr id="35" name="Slide Number Placeholder">
            <a:extLst>
              <a:ext uri="{FF2B5EF4-FFF2-40B4-BE49-F238E27FC236}">
                <a16:creationId xmlns:a16="http://schemas.microsoft.com/office/drawing/2014/main" id="{A3514DCF-B625-4299-8D32-24900E3A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7E0829-8157-4849-81E5-80F7347A867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6149570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78977F-AA0D-4D6D-A585-3450C3447DF2}"/>
              </a:ext>
            </a:extLst>
          </p:cNvPr>
          <p:cNvSpPr/>
          <p:nvPr userDrawn="1"/>
        </p:nvSpPr>
        <p:spPr>
          <a:xfrm>
            <a:off x="6271832" y="1733550"/>
            <a:ext cx="5477256" cy="448310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33E8B4-180F-491E-BC69-5AE4A7F2B044}"/>
              </a:ext>
            </a:extLst>
          </p:cNvPr>
          <p:cNvSpPr/>
          <p:nvPr userDrawn="1"/>
        </p:nvSpPr>
        <p:spPr>
          <a:xfrm>
            <a:off x="442914" y="1733550"/>
            <a:ext cx="5477255" cy="448310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E91F0D96-B8B7-49E7-A1A5-0420D4A2F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1A112453-069F-4D8F-BAB7-8B3181BB9E2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0BD516A6-9F06-4436-A0B9-5C832F635F7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804672" y="3429001"/>
            <a:ext cx="4745736" cy="26020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8E0F27-C031-4670-B57F-CAF2C87A3F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636124" y="3429000"/>
            <a:ext cx="4745736" cy="2602007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6" name="Footer Placeholder">
            <a:extLst>
              <a:ext uri="{FF2B5EF4-FFF2-40B4-BE49-F238E27FC236}">
                <a16:creationId xmlns:a16="http://schemas.microsoft.com/office/drawing/2014/main" id="{E74F5514-7647-48E5-9B95-4583791DBE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31" name="Footnotes">
            <a:extLst>
              <a:ext uri="{FF2B5EF4-FFF2-40B4-BE49-F238E27FC236}">
                <a16:creationId xmlns:a16="http://schemas.microsoft.com/office/drawing/2014/main" id="{0CC902BC-05D3-466A-8553-DD5B59BEEF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32" name="Date Placeholder">
            <a:extLst>
              <a:ext uri="{FF2B5EF4-FFF2-40B4-BE49-F238E27FC236}">
                <a16:creationId xmlns:a16="http://schemas.microsoft.com/office/drawing/2014/main" id="{61470D60-6AF4-4BC3-85CC-EC13EAEA461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B0C613-C178-4E09-8FF7-AFDAFCD230F4}" type="datetime4">
              <a:rPr lang="fr-FR" smtClean="0"/>
              <a:t>5 octobre 2023</a:t>
            </a:fld>
            <a:endParaRPr lang="fr-FR"/>
          </a:p>
        </p:txBody>
      </p:sp>
      <p:sp>
        <p:nvSpPr>
          <p:cNvPr id="33" name="Slide Number Placeholder">
            <a:extLst>
              <a:ext uri="{FF2B5EF4-FFF2-40B4-BE49-F238E27FC236}">
                <a16:creationId xmlns:a16="http://schemas.microsoft.com/office/drawing/2014/main" id="{24C05435-B396-49DA-B97B-C6E5930E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3DF090-817C-44CA-94D8-F4E5882CC2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pic>
        <p:nvPicPr>
          <p:cNvPr id="15" name="Strategy&amp;">
            <a:extLst>
              <a:ext uri="{FF2B5EF4-FFF2-40B4-BE49-F238E27FC236}">
                <a16:creationId xmlns:a16="http://schemas.microsoft.com/office/drawing/2014/main" id="{6E84A954-2B89-4000-ADD1-C001607AF00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 bwMode="black">
          <a:xfrm>
            <a:off x="280988" y="349250"/>
            <a:ext cx="1828800" cy="48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1541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0A16EB-0E7E-4AC7-B4DE-1AE97F514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0A16EB-0E7E-4AC7-B4DE-1AE97F514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9B83D3B3-B4C9-4F60-86EA-75CED066F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036DAA97-8136-43E1-9972-AA8DC949E8E5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F3F347F7-C040-4042-B734-AA04021057C4}"/>
              </a:ext>
            </a:extLst>
          </p:cNvPr>
          <p:cNvSpPr/>
          <p:nvPr userDrawn="1"/>
        </p:nvSpPr>
        <p:spPr bwMode="hidden">
          <a:xfrm>
            <a:off x="442912" y="1621836"/>
            <a:ext cx="11306173" cy="91441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26553F95-0C53-4FDE-B357-C236D098E5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tx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id="{62E25B09-558F-41DD-A2EC-827BDD955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id="{E9DA54DF-7B61-4A3A-92FA-6BBAA0DAE1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6" name="Date Placeholder">
            <a:extLst>
              <a:ext uri="{FF2B5EF4-FFF2-40B4-BE49-F238E27FC236}">
                <a16:creationId xmlns:a16="http://schemas.microsoft.com/office/drawing/2014/main" id="{BDDF8F64-D6C1-4F14-90C5-8D29B2FC41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A2BD4499-D82F-4B88-B35D-392F1B56B387}" type="datetime4">
              <a:rPr lang="fr-FR" smtClean="0"/>
              <a:t>5 octobre 2023</a:t>
            </a:fld>
            <a:endParaRPr lang="fr-FR"/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34FC9BBF-DAC7-463E-8E26-475FCB5B9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E8A01C-8E4F-4EC3-9489-3905918CD9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6412893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D737932D-FCA8-4FE7-BDF6-0CBBD2E0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A166B68F-1750-47B7-BE76-BDE1FBC451B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815722B4-2F31-46FF-B6E8-AC2791F179C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B7BCD93-145E-4206-80FA-78F087F627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02BDFE6E-990E-4797-9D93-DA8D4741A35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1733550"/>
            <a:ext cx="3529584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  <a:p>
            <a:pPr lvl="5"/>
            <a:r>
              <a:rPr lang="fr-FR"/>
              <a:t>Sixth level</a:t>
            </a:r>
          </a:p>
          <a:p>
            <a:pPr lvl="6"/>
            <a:r>
              <a:rPr lang="fr-FR"/>
              <a:t>Seventh level</a:t>
            </a:r>
          </a:p>
          <a:p>
            <a:pPr lvl="7"/>
            <a:r>
              <a:rPr lang="fr-FR"/>
              <a:t>Eighth level</a:t>
            </a:r>
          </a:p>
          <a:p>
            <a:pPr lvl="8"/>
            <a:r>
              <a:rPr lang="fr-FR"/>
              <a:t>Ninth level</a:t>
            </a:r>
          </a:p>
        </p:txBody>
      </p:sp>
      <p:sp>
        <p:nvSpPr>
          <p:cNvPr id="25" name="Footer Placeholder">
            <a:extLst>
              <a:ext uri="{FF2B5EF4-FFF2-40B4-BE49-F238E27FC236}">
                <a16:creationId xmlns:a16="http://schemas.microsoft.com/office/drawing/2014/main" id="{30793301-02A2-4893-971D-ADBC932FFAF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7" name="Footnotes">
            <a:extLst>
              <a:ext uri="{FF2B5EF4-FFF2-40B4-BE49-F238E27FC236}">
                <a16:creationId xmlns:a16="http://schemas.microsoft.com/office/drawing/2014/main" id="{69668BB1-4E88-49BE-B452-33C7979AF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36" name="Date Placeholder">
            <a:extLst>
              <a:ext uri="{FF2B5EF4-FFF2-40B4-BE49-F238E27FC236}">
                <a16:creationId xmlns:a16="http://schemas.microsoft.com/office/drawing/2014/main" id="{9393CC5C-ABBB-433D-83AE-4325EAE7330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D67490FC-A43E-4798-9FC6-8AEFB45FC2AE}" type="datetime4">
              <a:rPr lang="fr-FR" smtClean="0"/>
              <a:t>5 octobre 2023</a:t>
            </a:fld>
            <a:endParaRPr lang="fr-FR"/>
          </a:p>
        </p:txBody>
      </p:sp>
      <p:sp>
        <p:nvSpPr>
          <p:cNvPr id="37" name="Slide Number Placeholder">
            <a:extLst>
              <a:ext uri="{FF2B5EF4-FFF2-40B4-BE49-F238E27FC236}">
                <a16:creationId xmlns:a16="http://schemas.microsoft.com/office/drawing/2014/main" id="{0FF9B6AC-55D6-405C-AE28-D4603674ED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393797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0A16EB-0E7E-4AC7-B4DE-1AE97F514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0A16EB-0E7E-4AC7-B4DE-1AE97F514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9B83D3B3-B4C9-4F60-86EA-75CED066F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/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036DAA97-8136-43E1-9972-AA8DC949E8E5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529710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F3F347F7-C040-4042-B734-AA04021057C4}"/>
              </a:ext>
            </a:extLst>
          </p:cNvPr>
          <p:cNvSpPr/>
          <p:nvPr userDrawn="1"/>
        </p:nvSpPr>
        <p:spPr bwMode="hidden">
          <a:xfrm>
            <a:off x="442912" y="1266000"/>
            <a:ext cx="11306173" cy="91441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 dirty="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26553F95-0C53-4FDE-B357-C236D098E52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tx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3" name="Footer Placeholder">
            <a:extLst>
              <a:ext uri="{FF2B5EF4-FFF2-40B4-BE49-F238E27FC236}">
                <a16:creationId xmlns:a16="http://schemas.microsoft.com/office/drawing/2014/main" id="{62E25B09-558F-41DD-A2EC-827BDD955C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id="{E9DA54DF-7B61-4A3A-92FA-6BBAA0DAE1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6" name="Date Placeholder">
            <a:extLst>
              <a:ext uri="{FF2B5EF4-FFF2-40B4-BE49-F238E27FC236}">
                <a16:creationId xmlns:a16="http://schemas.microsoft.com/office/drawing/2014/main" id="{BDDF8F64-D6C1-4F14-90C5-8D29B2FC41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A2BD4499-D82F-4B88-B35D-392F1B56B387}" type="datetime4">
              <a:rPr lang="fr-FR" smtClean="0"/>
              <a:t>5 octobre 2023</a:t>
            </a:fld>
            <a:endParaRPr lang="fr-FR"/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34FC9BBF-DAC7-463E-8E26-475FCB5B9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E8A01C-8E4F-4EC3-9489-3905918CD9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19179046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4D35A0DC-A9A3-4D0B-9591-78683A4F3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A2541354-A789-41E1-84F6-896E9C92511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333AE21E-C86E-41E4-A641-637AF025A62A}"/>
              </a:ext>
            </a:extLst>
          </p:cNvPr>
          <p:cNvSpPr/>
          <p:nvPr userDrawn="1"/>
        </p:nvSpPr>
        <p:spPr bwMode="hidden">
          <a:xfrm>
            <a:off x="442912" y="1734668"/>
            <a:ext cx="11306173" cy="91441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18CB18D-526B-49B3-8049-DF8C45676E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8B13814-E37A-45EE-B29B-64725D762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1B3D6B03-FE42-4D40-90E0-C6FAC4CBF9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728BC26B-D6B9-4274-AD7B-DB52FA0707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C0E36F0-4D04-4D49-AEA4-662208898C1D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D800E2C4-3FAB-480E-AFFC-D6A94D3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57C6E97-BC0D-49CA-8F2F-CC2081D1999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969133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4D35A0DC-A9A3-4D0B-9591-78683A4F3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A2541354-A789-41E1-84F6-896E9C92511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629377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333AE21E-C86E-41E4-A641-637AF025A62A}"/>
              </a:ext>
            </a:extLst>
          </p:cNvPr>
          <p:cNvSpPr/>
          <p:nvPr userDrawn="1"/>
        </p:nvSpPr>
        <p:spPr bwMode="hidden">
          <a:xfrm>
            <a:off x="442912" y="1316733"/>
            <a:ext cx="11306173" cy="91441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18CB18D-526B-49B3-8049-DF8C45676E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08B13814-E37A-45EE-B29B-64725D762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1B3D6B03-FE42-4D40-90E0-C6FAC4CBF9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728BC26B-D6B9-4274-AD7B-DB52FA0707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C0E36F0-4D04-4D49-AEA4-662208898C1D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D800E2C4-3FAB-480E-AFFC-D6A94D3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57C6E97-BC0D-49CA-8F2F-CC2081D1999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692123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ight Blue">
    <p:bg>
      <p:bgPr>
        <a:solidFill>
          <a:srgbClr val="1EC0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3F67AEB6-140D-4156-A23B-C6B162042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216245DB-0442-4EAA-A661-0B01B458C6F2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491344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21A7815F-275D-472E-BB5F-EB2AA0FAF605}"/>
              </a:ext>
            </a:extLst>
          </p:cNvPr>
          <p:cNvSpPr/>
          <p:nvPr userDrawn="1"/>
        </p:nvSpPr>
        <p:spPr bwMode="hidden">
          <a:xfrm>
            <a:off x="442912" y="1248155"/>
            <a:ext cx="11306173" cy="9144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75F5ECAF-B258-461D-916F-2D57CD2388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25C4C179-1BBB-455D-B8CB-A2C38E90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D08B7141-337E-4E9A-B03B-31B74890F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388CAC85-28AB-4D3A-B835-4731BA19EE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3140D4E-BEBD-468C-9456-E38BCF1D0113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2D7779EA-64B5-46C0-8526-6D292147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480499-C040-434E-9E89-F176DE67351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624528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Agenda - Light Blue">
    <p:bg>
      <p:bgPr>
        <a:solidFill>
          <a:srgbClr val="1EC0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3F67AEB6-140D-4156-A23B-C6B162042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216245DB-0442-4EAA-A661-0B01B458C6F2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21A7815F-275D-472E-BB5F-EB2AA0FAF605}"/>
              </a:ext>
            </a:extLst>
          </p:cNvPr>
          <p:cNvSpPr/>
          <p:nvPr userDrawn="1"/>
        </p:nvSpPr>
        <p:spPr bwMode="hidden">
          <a:xfrm>
            <a:off x="442912" y="1734669"/>
            <a:ext cx="11306173" cy="9144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75F5ECAF-B258-461D-916F-2D57CD2388D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4" name="Footer Placeholder">
            <a:extLst>
              <a:ext uri="{FF2B5EF4-FFF2-40B4-BE49-F238E27FC236}">
                <a16:creationId xmlns:a16="http://schemas.microsoft.com/office/drawing/2014/main" id="{25C4C179-1BBB-455D-B8CB-A2C38E906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D08B7141-337E-4E9A-B03B-31B74890F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7" name="Date Placeholder">
            <a:extLst>
              <a:ext uri="{FF2B5EF4-FFF2-40B4-BE49-F238E27FC236}">
                <a16:creationId xmlns:a16="http://schemas.microsoft.com/office/drawing/2014/main" id="{388CAC85-28AB-4D3A-B835-4731BA19EE8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3140D4E-BEBD-468C-9456-E38BCF1D0113}" type="datetime4">
              <a:rPr lang="fr-FR" smtClean="0"/>
              <a:t>5 octobre 2023</a:t>
            </a:fld>
            <a:endParaRPr lang="fr-FR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2D7779EA-64B5-46C0-8526-6D292147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480499-C040-434E-9E89-F176DE67351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20848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fr-FR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F34DBB6F-259E-4273-BD86-7E9C7D1B3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3681E414-073D-4AB1-8B72-3AE5D835E8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8127932-15B4-414D-8D63-FAC3488C3F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2C016F15-F4A2-4780-B075-4C9F01C41382}" type="datetime4">
              <a:rPr lang="fr-FR" smtClean="0"/>
              <a:t>5 octobre 2023</a:t>
            </a:fld>
            <a:endParaRPr lang="fr-FR"/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A969B31B-B223-4164-AF1A-92B494C7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601946-A40A-4D34-BD6D-96202F12B24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pic>
        <p:nvPicPr>
          <p:cNvPr id="2" name="Image 1" descr="Une image contenant Graphiqu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33EBAC57-14D6-5EE5-8557-A2CC7B693AB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8" t="17908" r="15751" b="24383"/>
          <a:stretch/>
        </p:blipFill>
        <p:spPr>
          <a:xfrm>
            <a:off x="2617084" y="1808909"/>
            <a:ext cx="6857820" cy="245323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fr-FR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47112542-508F-4AFC-84B8-7F58B274E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BA9C0DD3-0F46-4F3C-82AD-312EE9CA1A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5" name="Date Placeholder">
            <a:extLst>
              <a:ext uri="{FF2B5EF4-FFF2-40B4-BE49-F238E27FC236}">
                <a16:creationId xmlns:a16="http://schemas.microsoft.com/office/drawing/2014/main" id="{34ADACBC-D156-400A-AD25-C1469DBAB8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00E45-F403-4194-9F03-ED15FB348AD7}" type="datetime4">
              <a:rPr lang="fr-FR" smtClean="0"/>
              <a:t>5 octobre 2023</a:t>
            </a:fld>
            <a:endParaRPr lang="fr-FR"/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A2044F5A-0900-47E5-B3C7-8F742B253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68EAA6-A36C-47A1-A9F5-F9F0EB1F986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  <p:pic>
        <p:nvPicPr>
          <p:cNvPr id="126980" name="Picture 4" descr="Destin Commun">
            <a:extLst>
              <a:ext uri="{FF2B5EF4-FFF2-40B4-BE49-F238E27FC236}">
                <a16:creationId xmlns:a16="http://schemas.microsoft.com/office/drawing/2014/main" id="{0E5176E0-FED7-24D0-D91A-0A97A67ED1B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34323" y="2543671"/>
            <a:ext cx="5723354" cy="17706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763475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fr-FR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F34DBB6F-259E-4273-BD86-7E9C7D1B38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3681E414-073D-4AB1-8B72-3AE5D835E8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4" name="Date Placeholder">
            <a:extLst>
              <a:ext uri="{FF2B5EF4-FFF2-40B4-BE49-F238E27FC236}">
                <a16:creationId xmlns:a16="http://schemas.microsoft.com/office/drawing/2014/main" id="{48127932-15B4-414D-8D63-FAC3488C3F4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2C016F15-F4A2-4780-B075-4C9F01C41382}" type="datetime4">
              <a:rPr lang="fr-FR" smtClean="0"/>
              <a:t>5 octobre 2023</a:t>
            </a:fld>
            <a:endParaRPr lang="fr-FR"/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A969B31B-B223-4164-AF1A-92B494C7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601946-A40A-4D34-BD6D-96202F12B24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50095373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HeaderTOCPlaceholder" hidden="1"/>
          <p:cNvSpPr txBox="1"/>
          <p:nvPr userDrawn="1">
            <p:custDataLst>
              <p:tags r:id="rId1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2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endParaRPr lang="fr-FR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47112542-508F-4AFC-84B8-7F58B274EE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BA9C0DD3-0F46-4F3C-82AD-312EE9CA1A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5" name="Date Placeholder">
            <a:extLst>
              <a:ext uri="{FF2B5EF4-FFF2-40B4-BE49-F238E27FC236}">
                <a16:creationId xmlns:a16="http://schemas.microsoft.com/office/drawing/2014/main" id="{34ADACBC-D156-400A-AD25-C1469DBAB8F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86100E45-F403-4194-9F03-ED15FB348AD7}" type="datetime4">
              <a:rPr lang="fr-FR" smtClean="0"/>
              <a:t>5 octobre 2023</a:t>
            </a:fld>
            <a:endParaRPr lang="fr-FR"/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A2044F5A-0900-47E5-B3C7-8F742B253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68EAA6-A36C-47A1-A9F5-F9F0EB1F986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255405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port Subtitle">
            <a:extLst>
              <a:ext uri="{FF2B5EF4-FFF2-40B4-BE49-F238E27FC236}">
                <a16:creationId xmlns:a16="http://schemas.microsoft.com/office/drawing/2014/main" id="{51BFA96D-6E1E-48DA-A0E8-D31BB28F0B23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7674" y="448200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rgbClr val="12A059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 dirty="0" err="1"/>
              <a:t>Prepared</a:t>
            </a:r>
            <a:r>
              <a:rPr lang="fr-FR" noProof="0" dirty="0"/>
              <a:t> by </a:t>
            </a:r>
            <a:r>
              <a:rPr lang="fr-FR" noProof="0" dirty="0" err="1"/>
              <a:t>Firstname</a:t>
            </a:r>
            <a:r>
              <a:rPr lang="fr-FR" noProof="0" dirty="0"/>
              <a:t> </a:t>
            </a:r>
            <a:r>
              <a:rPr lang="fr-FR" noProof="0" dirty="0" err="1"/>
              <a:t>Lastname</a:t>
            </a:r>
            <a:r>
              <a:rPr lang="fr-FR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A0E0E9AB-00CF-41F2-945A-5B185929325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7674" y="4680000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rgbClr val="12A059"/>
                </a:solidFill>
                <a:latin typeface="+mn-lt"/>
                <a:cs typeface="+mn-cs"/>
              </a:defRPr>
            </a:lvl1pPr>
          </a:lstStyle>
          <a:p>
            <a:fld id="{7B86AC8A-BBB1-449A-9484-D775D896A544}" type="datetime4">
              <a:rPr lang="fr-FR" smtClean="0"/>
              <a:pPr/>
              <a:t>5 octobre 2023</a:t>
            </a:fld>
            <a:endParaRPr lang="fr-FR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0A20391A-63CD-4196-9710-A4514FAA869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rgbClr val="00B0F0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8" name="Bar">
            <a:extLst>
              <a:ext uri="{FF2B5EF4-FFF2-40B4-BE49-F238E27FC236}">
                <a16:creationId xmlns:a16="http://schemas.microsoft.com/office/drawing/2014/main" id="{A004CBCE-1A72-437F-95D0-60E298780061}"/>
              </a:ext>
            </a:extLst>
          </p:cNvPr>
          <p:cNvSpPr/>
          <p:nvPr userDrawn="1"/>
        </p:nvSpPr>
        <p:spPr bwMode="hidden">
          <a:xfrm>
            <a:off x="442912" y="1504950"/>
            <a:ext cx="5473701" cy="9144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>
              <a:solidFill>
                <a:srgbClr val="224099"/>
              </a:solidFill>
            </a:endParaRPr>
          </a:p>
        </p:txBody>
      </p:sp>
      <p:pic>
        <p:nvPicPr>
          <p:cNvPr id="3" name="Image 2" descr="Une image contenant Graphiqu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159FC4D1-D2C9-6E9B-D8C7-64DEEEF14C8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51" y="220288"/>
            <a:ext cx="2749749" cy="1299852"/>
          </a:xfrm>
          <a:prstGeom prst="rect">
            <a:avLst/>
          </a:prstGeom>
        </p:spPr>
      </p:pic>
      <p:pic>
        <p:nvPicPr>
          <p:cNvPr id="5" name="Image 4" descr="Une image contenant Graphiqu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FFFCB247-ED6A-71E7-7560-BBB714F729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87" t="17908" r="66805" b="24383"/>
          <a:stretch/>
        </p:blipFill>
        <p:spPr>
          <a:xfrm>
            <a:off x="5916613" y="325290"/>
            <a:ext cx="6451600" cy="6982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35350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9FA1BCF6-808C-4EC2-97E2-6750F4BFA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/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2C54B5C3-8CF6-4602-81F2-AEFB7CC3AC2F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CDA4A270-D7CE-430F-8494-73A0BD8B616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8912" y="1733550"/>
            <a:ext cx="7422960" cy="1512570"/>
          </a:xfrm>
        </p:spPr>
        <p:txBody>
          <a:bodyPr/>
          <a:lstStyle/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id="{3F5ECE49-C274-40E0-AA56-81F08FA64029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4439437-BE51-42E7-9D81-3995B12526B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9" name="Bar 2">
            <a:extLst>
              <a:ext uri="{FF2B5EF4-FFF2-40B4-BE49-F238E27FC236}">
                <a16:creationId xmlns:a16="http://schemas.microsoft.com/office/drawing/2014/main" id="{0FFF4E4D-557A-4503-8BEB-FFE9C06AB660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77BD7C9E-90FC-4700-8089-C34BBF90F09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37" name="Bar 3">
            <a:extLst>
              <a:ext uri="{FF2B5EF4-FFF2-40B4-BE49-F238E27FC236}">
                <a16:creationId xmlns:a16="http://schemas.microsoft.com/office/drawing/2014/main" id="{DC3DA640-B0E9-404A-B2EB-98A85C588DDB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35AC14DF-314C-46A8-AD4C-A6D87999EC2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40" name="Footnotes">
            <a:extLst>
              <a:ext uri="{FF2B5EF4-FFF2-40B4-BE49-F238E27FC236}">
                <a16:creationId xmlns:a16="http://schemas.microsoft.com/office/drawing/2014/main" id="{E97A107A-932D-4677-9091-ED83002C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03912402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059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82D7D71-F638-4D10-9BAE-C4B576FBF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fr-FR" dirty="0"/>
              <a:t>[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/>
              <a:t>Prepared by Firstname Lastname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E92C88FD-F98D-4582-B325-F6B3E49D9EA4}" type="datetime4">
              <a:rPr lang="fr-FR" smtClean="0"/>
              <a:t>5 octobre 2023</a:t>
            </a:fld>
            <a:endParaRPr lang="fr-FR"/>
          </a:p>
        </p:txBody>
      </p:sp>
      <p:pic>
        <p:nvPicPr>
          <p:cNvPr id="2" name="Picture 4" descr="Destin Commun">
            <a:extLst>
              <a:ext uri="{FF2B5EF4-FFF2-40B4-BE49-F238E27FC236}">
                <a16:creationId xmlns:a16="http://schemas.microsoft.com/office/drawing/2014/main" id="{F54C005D-0FB4-3528-1B80-E655FADC6CD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33"/>
          <a:stretch/>
        </p:blipFill>
        <p:spPr bwMode="auto">
          <a:xfrm>
            <a:off x="6146087" y="426117"/>
            <a:ext cx="6210972" cy="5936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Destin Commun">
            <a:extLst>
              <a:ext uri="{FF2B5EF4-FFF2-40B4-BE49-F238E27FC236}">
                <a16:creationId xmlns:a16="http://schemas.microsoft.com/office/drawing/2014/main" id="{657E74DF-33CF-B31D-9617-50D0FBCA86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00" y="252913"/>
            <a:ext cx="2417177" cy="74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2929326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ar">
            <a:extLst>
              <a:ext uri="{FF2B5EF4-FFF2-40B4-BE49-F238E27FC236}">
                <a16:creationId xmlns:a16="http://schemas.microsoft.com/office/drawing/2014/main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5473701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059">
              <a:solidFill>
                <a:schemeClr val="bg1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82D7D71-F638-4D10-9BAE-C4B576FBFA5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800" y="1733550"/>
            <a:ext cx="5473701" cy="1695450"/>
          </a:xfrm>
          <a:prstGeom prst="rect">
            <a:avLst/>
          </a:prstGeom>
        </p:spPr>
        <p:txBody>
          <a:bodyPr vert="horz" wrap="square" lIns="0" tIns="0" rIns="0" bIns="64008" rtlCol="0" anchor="t" anchorCtr="0">
            <a:noAutofit/>
          </a:bodyPr>
          <a:lstStyle>
            <a:lvl1pPr>
              <a:defRPr lang="en-GB" sz="3600" b="0" i="0" baseline="0" noProof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899010">
              <a:lnSpc>
                <a:spcPct val="90000"/>
              </a:lnSpc>
              <a:spcBef>
                <a:spcPct val="0"/>
              </a:spcBef>
            </a:pPr>
            <a:r>
              <a:rPr lang="fr-FR" dirty="0"/>
              <a:t>[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1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noProof="0"/>
              <a:t>Prepared by Firstname Lastname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E92C88FD-F98D-4582-B325-F6B3E49D9EA4}" type="datetime4">
              <a:rPr lang="fr-FR" smtClean="0"/>
              <a:t>5 octobre 2023</a:t>
            </a:fld>
            <a:endParaRPr lang="fr-FR"/>
          </a:p>
        </p:txBody>
      </p:sp>
      <p:pic>
        <p:nvPicPr>
          <p:cNvPr id="2" name="Picture 4" descr="Destin Commun">
            <a:extLst>
              <a:ext uri="{FF2B5EF4-FFF2-40B4-BE49-F238E27FC236}">
                <a16:creationId xmlns:a16="http://schemas.microsoft.com/office/drawing/2014/main" id="{F54C005D-0FB4-3528-1B80-E655FADC6CDB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3" cstate="print">
            <a:alphaModFix amt="44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7633"/>
          <a:stretch/>
        </p:blipFill>
        <p:spPr bwMode="auto">
          <a:xfrm>
            <a:off x="6275501" y="-194474"/>
            <a:ext cx="7581900" cy="72469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4" descr="Destin Commun">
            <a:extLst>
              <a:ext uri="{FF2B5EF4-FFF2-40B4-BE49-F238E27FC236}">
                <a16:creationId xmlns:a16="http://schemas.microsoft.com/office/drawing/2014/main" id="{657E74DF-33CF-B31D-9617-50D0FBCA86B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00" y="252913"/>
            <a:ext cx="2417177" cy="7478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384422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de Imag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17FB4DDB-3E13-46BE-A96C-D57A3F1A74E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870" y="0"/>
            <a:ext cx="6096129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fr-FR"/>
              <a:t> </a:t>
            </a:r>
          </a:p>
        </p:txBody>
      </p:sp>
      <p:sp>
        <p:nvSpPr>
          <p:cNvPr id="46" name="Picture Placeholder 1">
            <a:extLst>
              <a:ext uri="{FF2B5EF4-FFF2-40B4-BE49-F238E27FC236}">
                <a16:creationId xmlns:a16="http://schemas.microsoft.com/office/drawing/2014/main" id="{983324A2-33AE-4505-9016-3184B6B2CDB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00B0F0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fr-FR"/>
              <a:t>Cliquez sur l'icône pour ajouter une image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9D0E6AD-20D2-46A9-AB61-D4B9F7ACBA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5" imgH="424" progId="TCLayout.ActiveDocument.1">
                  <p:embed/>
                </p:oleObj>
              </mc:Choice>
              <mc:Fallback>
                <p:oleObj name="think-cell Slide" r:id="rId7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9D0E6AD-20D2-46A9-AB61-D4B9F7ACBA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40483A3-73D2-47E4-A412-0417D4441F7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1" name="Footer Placeholder">
            <a:extLst>
              <a:ext uri="{FF2B5EF4-FFF2-40B4-BE49-F238E27FC236}">
                <a16:creationId xmlns:a16="http://schemas.microsoft.com/office/drawing/2014/main" id="{E3D61749-70AD-4269-9578-91834FC86D5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3" name="Date Placeholder">
            <a:extLst>
              <a:ext uri="{FF2B5EF4-FFF2-40B4-BE49-F238E27FC236}">
                <a16:creationId xmlns:a16="http://schemas.microsoft.com/office/drawing/2014/main" id="{9A4FED65-2216-470C-BA8C-43AA7E63A287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5BD9B0BA-A904-4364-8E39-F65B13D168FB}" type="datetime4">
              <a:rPr lang="fr-FR" smtClean="0"/>
              <a:t>5 octobre 2023</a:t>
            </a:fld>
            <a:endParaRPr lang="fr-FR"/>
          </a:p>
        </p:txBody>
      </p:sp>
      <p:sp>
        <p:nvSpPr>
          <p:cNvPr id="29" name="Slide Number Placeholder">
            <a:extLst>
              <a:ext uri="{FF2B5EF4-FFF2-40B4-BE49-F238E27FC236}">
                <a16:creationId xmlns:a16="http://schemas.microsoft.com/office/drawing/2014/main" id="{066E57DB-88C6-4A25-AB1F-D81326DED42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41" name="Section Type">
            <a:extLst>
              <a:ext uri="{FF2B5EF4-FFF2-40B4-BE49-F238E27FC236}">
                <a16:creationId xmlns:a16="http://schemas.microsoft.com/office/drawing/2014/main" id="{B456B38B-07DD-416B-8B65-63C0732A82E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575944"/>
            <a:ext cx="585787" cy="101917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0" b="0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42" name="Title">
            <a:extLst>
              <a:ext uri="{FF2B5EF4-FFF2-40B4-BE49-F238E27FC236}">
                <a16:creationId xmlns:a16="http://schemas.microsoft.com/office/drawing/2014/main" id="{B7DB4AAD-8DFD-4835-806F-0C8F2C00E24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442913" y="1733550"/>
            <a:ext cx="5473700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[Section header title]</a:t>
            </a:r>
          </a:p>
        </p:txBody>
      </p:sp>
      <p:sp>
        <p:nvSpPr>
          <p:cNvPr id="43" name="Bar">
            <a:extLst>
              <a:ext uri="{FF2B5EF4-FFF2-40B4-BE49-F238E27FC236}">
                <a16:creationId xmlns:a16="http://schemas.microsoft.com/office/drawing/2014/main" id="{41E70ED2-0754-4053-8253-EE1113B3C28D}"/>
              </a:ext>
            </a:extLst>
          </p:cNvPr>
          <p:cNvSpPr/>
          <p:nvPr userDrawn="1"/>
        </p:nvSpPr>
        <p:spPr bwMode="hidden">
          <a:xfrm>
            <a:off x="442912" y="3749040"/>
            <a:ext cx="5473701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>
              <a:solidFill>
                <a:schemeClr val="bg1"/>
              </a:solidFill>
            </a:endParaRPr>
          </a:p>
        </p:txBody>
      </p:sp>
      <p:sp>
        <p:nvSpPr>
          <p:cNvPr id="44" name="Text Placeholder 1">
            <a:extLst>
              <a:ext uri="{FF2B5EF4-FFF2-40B4-BE49-F238E27FC236}">
                <a16:creationId xmlns:a16="http://schemas.microsoft.com/office/drawing/2014/main" id="{0367AA20-173D-4A11-832C-466E37C2033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473700" cy="2193290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45" name="Footnotes">
            <a:extLst>
              <a:ext uri="{FF2B5EF4-FFF2-40B4-BE49-F238E27FC236}">
                <a16:creationId xmlns:a16="http://schemas.microsoft.com/office/drawing/2014/main" id="{70755FBA-2B2E-4FF2-A6F4-33D87894E55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</p:spTree>
    <p:extLst>
      <p:ext uri="{BB962C8B-B14F-4D97-AF65-F5344CB8AC3E}">
        <p14:creationId xmlns:p14="http://schemas.microsoft.com/office/powerpoint/2010/main" val="2643614819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">
            <a:extLst>
              <a:ext uri="{FF2B5EF4-FFF2-40B4-BE49-F238E27FC236}">
                <a16:creationId xmlns:a16="http://schemas.microsoft.com/office/drawing/2014/main" id="{824496FF-9599-4A9E-8B7B-4DC5EF09576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047564"/>
            <a:ext cx="12192000" cy="2810435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fr-FR"/>
              <a:t> </a:t>
            </a:r>
          </a:p>
        </p:txBody>
      </p:sp>
      <p:sp>
        <p:nvSpPr>
          <p:cNvPr id="17" name="Picture Placeholder 1">
            <a:extLst>
              <a:ext uri="{FF2B5EF4-FFF2-40B4-BE49-F238E27FC236}">
                <a16:creationId xmlns:a16="http://schemas.microsoft.com/office/drawing/2014/main" id="{9E6904C1-927C-4E9F-B7E6-4362F11C732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4114800"/>
            <a:ext cx="12192000" cy="2743199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19" name="Bar">
            <a:extLst>
              <a:ext uri="{FF2B5EF4-FFF2-40B4-BE49-F238E27FC236}">
                <a16:creationId xmlns:a16="http://schemas.microsoft.com/office/drawing/2014/main" id="{34462720-98A7-4B43-8404-AB8B644B5A15}"/>
              </a:ext>
            </a:extLst>
          </p:cNvPr>
          <p:cNvSpPr/>
          <p:nvPr userDrawn="1"/>
        </p:nvSpPr>
        <p:spPr bwMode="hidden">
          <a:xfrm>
            <a:off x="-1" y="4023360"/>
            <a:ext cx="12192000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20" name="Section Type">
            <a:extLst>
              <a:ext uri="{FF2B5EF4-FFF2-40B4-BE49-F238E27FC236}">
                <a16:creationId xmlns:a16="http://schemas.microsoft.com/office/drawing/2014/main" id="{B7FD7770-D808-45CD-B073-8F2E4783A42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428624"/>
            <a:ext cx="560387" cy="511175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5400" b="1" cap="all" baseline="0">
                <a:solidFill>
                  <a:srgbClr val="00B0F0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F23A7AB8-3B2D-468A-B25B-DB93248C498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42912" y="777551"/>
            <a:ext cx="11301984" cy="109728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rgbClr val="00B0F0"/>
                </a:solidFill>
                <a:latin typeface="+mj-lt"/>
              </a:defRPr>
            </a:lvl1pPr>
          </a:lstStyle>
          <a:p>
            <a:r>
              <a:rPr lang="fr-FR" dirty="0"/>
              <a:t>[Section header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F1E02C46-E0D2-418E-90D7-BB601A045B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2103120"/>
            <a:ext cx="5473700" cy="1645920"/>
          </a:xfrm>
        </p:spPr>
        <p:txBody>
          <a:bodyPr>
            <a:noAutofit/>
          </a:bodyPr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rgbClr val="224099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1875F8D7-8DCD-49D6-81FD-8C98306DF1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4F31F0E-A0FA-4541-8BEB-302ACFB971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23" imgH="424" progId="TCLayout.ActiveDocument.1">
                  <p:embed/>
                </p:oleObj>
              </mc:Choice>
              <mc:Fallback>
                <p:oleObj name="think-cell Slide" r:id="rId7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4F31F0E-A0FA-4541-8BEB-302ACFB971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6A62349-8882-4530-97DD-852A11AE79D7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2" name="Footer Placeholder">
            <a:extLst>
              <a:ext uri="{FF2B5EF4-FFF2-40B4-BE49-F238E27FC236}">
                <a16:creationId xmlns:a16="http://schemas.microsoft.com/office/drawing/2014/main" id="{437BB367-7B31-435F-A8D4-5BF038B1B060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4" name="Date Placeholder">
            <a:extLst>
              <a:ext uri="{FF2B5EF4-FFF2-40B4-BE49-F238E27FC236}">
                <a16:creationId xmlns:a16="http://schemas.microsoft.com/office/drawing/2014/main" id="{359C77D0-3A56-42D4-ADE7-785F099B32B8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4B4E9995-47CC-42EB-B28B-CA4A9B733DEB}" type="datetime4">
              <a:rPr lang="fr-FR" smtClean="0"/>
              <a:t>5 octobre 2023</a:t>
            </a:fld>
            <a:endParaRPr lang="fr-FR"/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EF197C71-16B6-42F2-9AF9-92E1A7EF1BA1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333114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6F02FE03-C46E-4BDA-8319-D954DF6F3BD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lt1"/>
                </a:solidFill>
              </a:defRPr>
            </a:lvl1pPr>
          </a:lstStyle>
          <a:p>
            <a:pPr lvl="0" algn="ctr" defTabSz="914293"/>
            <a:r>
              <a:rPr lang="fr-FR"/>
              <a:t> </a:t>
            </a:r>
          </a:p>
        </p:txBody>
      </p:sp>
      <p:sp>
        <p:nvSpPr>
          <p:cNvPr id="32" name="Picture Placeholder 1">
            <a:extLst>
              <a:ext uri="{FF2B5EF4-FFF2-40B4-BE49-F238E27FC236}">
                <a16:creationId xmlns:a16="http://schemas.microsoft.com/office/drawing/2014/main" id="{3FF6AAD4-DC63-4784-AA3A-5239F52BF48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00B0F0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33" name="Section Type">
            <a:extLst>
              <a:ext uri="{FF2B5EF4-FFF2-40B4-BE49-F238E27FC236}">
                <a16:creationId xmlns:a16="http://schemas.microsoft.com/office/drawing/2014/main" id="{1006F48E-CAF0-4D70-9CD6-87E632C06FB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729615"/>
            <a:ext cx="547370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34" name="Title">
            <a:extLst>
              <a:ext uri="{FF2B5EF4-FFF2-40B4-BE49-F238E27FC236}">
                <a16:creationId xmlns:a16="http://schemas.microsoft.com/office/drawing/2014/main" id="{3BC60DC4-93ED-44C6-9073-D090A6450CA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42913" y="1733550"/>
            <a:ext cx="5584825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4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 dirty="0"/>
              <a:t>[Section header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35" name="Bar">
            <a:extLst>
              <a:ext uri="{FF2B5EF4-FFF2-40B4-BE49-F238E27FC236}">
                <a16:creationId xmlns:a16="http://schemas.microsoft.com/office/drawing/2014/main" id="{F294D83F-F8C1-4FAF-B4DE-C7CEDF03ED7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4825" cy="91440"/>
          </a:xfrm>
          <a:solidFill>
            <a:srgbClr val="12A059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rgbClr val="A32020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 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A5DC5173-00E7-4DA9-92E8-FBACADED670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4825" cy="2193290"/>
          </a:xfrm>
        </p:spPr>
        <p:txBody>
          <a:bodyPr>
            <a:normAutofit/>
          </a:bodyPr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7" name="Footnotes">
            <a:extLst>
              <a:ext uri="{FF2B5EF4-FFF2-40B4-BE49-F238E27FC236}">
                <a16:creationId xmlns:a16="http://schemas.microsoft.com/office/drawing/2014/main" id="{9731D6EC-71B9-44E5-976D-BC385831C3A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F2FE4BA-018A-45A4-A0C4-F704D8D4B4C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F2FE4BA-018A-45A4-A0C4-F704D8D4B4C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3E2A55C-C1D4-4693-B08D-320F6B57244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4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3F836E52-8394-9BF4-2143-7ECE102CC2B2}"/>
              </a:ext>
            </a:extLst>
          </p:cNvPr>
          <p:cNvSpPr>
            <a:spLocks noGrp="1"/>
          </p:cNvSpPr>
          <p:nvPr>
            <p:ph type="dt" sz="half" idx="31"/>
          </p:nvPr>
        </p:nvSpPr>
        <p:spPr/>
        <p:txBody>
          <a:bodyPr/>
          <a:lstStyle/>
          <a:p>
            <a:pPr algn="r"/>
            <a:fld id="{AB1D6CF9-F7BC-4491-BB44-B214B2AAF76B}" type="datetime4">
              <a:rPr lang="fr-FR" smtClean="0"/>
              <a:t>5 octobre 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AFCFC13-C839-29CA-7F36-C9FE0043112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r>
              <a:rPr lang="fr-FR"/>
              <a:t>Title</a:t>
            </a:r>
            <a:endParaRPr lang="fr-FR" dirty="0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D5C13801-AEF9-2722-BDD4-C8347012F0D4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02711016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55D9D2B5-F6CB-4389-8F2C-FBB3FAF27C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lvl="0" algn="ctr" defTabSz="914293"/>
            <a:r>
              <a:rPr lang="fr-FR"/>
              <a:t> </a:t>
            </a:r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2FB8CAC-A7A5-4730-A80B-53C621DE55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3" name="Section Type">
            <a:extLst>
              <a:ext uri="{FF2B5EF4-FFF2-40B4-BE49-F238E27FC236}">
                <a16:creationId xmlns:a16="http://schemas.microsoft.com/office/drawing/2014/main" id="{95F88C0A-8CD7-4B69-B18D-09B546CF86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817880"/>
            <a:ext cx="547370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 dirty="0"/>
              <a:t>#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A55F7786-AFCE-46F6-A9CF-FB53F2062C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42912" y="1733550"/>
            <a:ext cx="11306175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8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 dirty="0"/>
              <a:t>[Section header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26" name="Bar">
            <a:extLst>
              <a:ext uri="{FF2B5EF4-FFF2-40B4-BE49-F238E27FC236}">
                <a16:creationId xmlns:a16="http://schemas.microsoft.com/office/drawing/2014/main" id="{856506E4-CBE4-436B-8671-AFEEA6EAE8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6984" cy="91440"/>
          </a:xfrm>
          <a:solidFill>
            <a:srgbClr val="00B0F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bg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2EBCDC09-07FB-46C1-8A20-00FA5C3603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6984" cy="2193290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id="{C6C949C6-C4E2-47EE-AF6D-38A96261E8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50DD9D-BE89-427B-BCAE-685CC5A8AC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50DD9D-BE89-427B-BCAE-685CC5A8AC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391093-6B91-4A09-BED9-3C21C6D10F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4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id="{5C21B352-F7BA-44B4-BE01-E7A926C9D37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id="{0CAD1D4C-1B54-49AB-8EA8-A951BFC91BA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C705111-3EF0-46A6-85BE-0AD225F3B9B4}" type="datetime4">
              <a:rPr lang="fr-FR" smtClean="0"/>
              <a:t>5 octobre 2023</a:t>
            </a:fld>
            <a:endParaRPr lang="fr-FR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C2B87031-E677-41DE-BE36-7C0546F214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1122088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596059CE-F4B6-4A83-BAB2-FA7D263D90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/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E51D5B28-F3C3-4040-97F9-FC185F134EF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EA3F1DB-C276-4384-BA4A-7680615265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fld id="{AB1D6CF9-F7BC-4491-BB44-B214B2AAF76B}" type="datetime4">
              <a:rPr lang="fr-FR" smtClean="0"/>
              <a:t>5 octobre 2023</a:t>
            </a:fld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2B458606-5C92-4386-9E0F-2FA44CDB6B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8E243812-9FA9-4853-AE48-33475CABCF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10369642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A13C7403-DA56-4ADF-B8A2-F50FA32C2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latin typeface="Sailec-Bold" panose="00000800000000000000" pitchFamily="2" charset="0"/>
              </a:defRPr>
            </a:lvl1pPr>
          </a:lstStyle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A2405AF9-958A-4126-AF15-88210706CFE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15" name="Footer Placeholder">
            <a:extLst>
              <a:ext uri="{FF2B5EF4-FFF2-40B4-BE49-F238E27FC236}">
                <a16:creationId xmlns:a16="http://schemas.microsoft.com/office/drawing/2014/main" id="{7DC1755F-3229-4E45-BD0E-EA74077776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AAC838D4-7E3E-4DE2-B89E-753674E22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29B65FD2-FAD5-4328-B0E4-7F7686C8D5A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DF529981-C4C9-4978-9621-720608164372}" type="datetime4">
              <a:rPr lang="fr-FR" smtClean="0"/>
              <a:t>5 octobre 2023</a:t>
            </a:fld>
            <a:endParaRPr lang="fr-FR"/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792B84AA-3979-4DE1-B57E-2786D689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/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7D9E49-7B50-49A3-89D2-127A4FD40E2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</p:spTree>
    <p:extLst>
      <p:ext uri="{BB962C8B-B14F-4D97-AF65-F5344CB8AC3E}">
        <p14:creationId xmlns:p14="http://schemas.microsoft.com/office/powerpoint/2010/main" val="27774472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- Dark Blue Abo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238DE-9575-47F4-9F9D-D1EA25CC4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37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238DE-9575-47F4-9F9D-D1EA25CC4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1448448"/>
          </a:xfrm>
          <a:solidFill>
            <a:srgbClr val="224099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143904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1838846"/>
            <a:ext cx="6313488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EA0788F-A4FE-64C3-30CD-5717C39874A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7226300" y="1803400"/>
            <a:ext cx="4522788" cy="43894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48428171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FBF5C35-0C4F-435A-90B2-ED01860DA3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861759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FBF5C35-0C4F-435A-90B2-ED01860DA3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CEAC8C7-C4CD-42DC-9E0E-03CB42FE7FB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>
              <a:defRPr sz="700">
                <a:cs typeface="Arial" pitchFamily="34" charset="0"/>
              </a:defRPr>
            </a:lvl1pPr>
          </a:lstStyle>
          <a:p>
            <a:pPr lvl="0" rtl="0"/>
            <a:endParaRPr lang="en-ZA" sz="750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2" name="Title">
            <a:extLst>
              <a:ext uri="{FF2B5EF4-FFF2-40B4-BE49-F238E27FC236}">
                <a16:creationId xmlns:a16="http://schemas.microsoft.com/office/drawing/2014/main" id="{ADA4E9A3-4F1A-458C-9B96-3536016285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228600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89BC4C58-9AD4-4531-9BC7-3A29D7FD4E8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 dirty="0"/>
              <a:t>[Optional slide subtitle]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85B7678F-63A7-4C9F-99E9-61D6450D9A64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8912" y="1733550"/>
            <a:ext cx="9543288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64BDAAA5-70FF-402E-8CE8-90E2857E810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  <a:latin typeface="+mn-lt"/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 dirty="0"/>
              <a:t>[Optional footnotes/references]</a:t>
            </a:r>
          </a:p>
        </p:txBody>
      </p:sp>
      <p:sp>
        <p:nvSpPr>
          <p:cNvPr id="23" name="Slide Number Placeholder">
            <a:extLst>
              <a:ext uri="{FF2B5EF4-FFF2-40B4-BE49-F238E27FC236}">
                <a16:creationId xmlns:a16="http://schemas.microsoft.com/office/drawing/2014/main" id="{FAF632AD-2E44-4219-961C-A8CBA790018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 sz="750">
                <a:latin typeface="+mn-lt"/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593500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Black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1212E443-AC5C-47CE-A03C-CA7F8A46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AA8FC0D8-F786-4C92-B20E-F1B0842A80E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00B0F0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73D7DC6B-43FD-4864-B4C5-27C4B48BB41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8912" y="1733550"/>
            <a:ext cx="7422960" cy="151257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32" name="Bar 1">
            <a:extLst>
              <a:ext uri="{FF2B5EF4-FFF2-40B4-BE49-F238E27FC236}">
                <a16:creationId xmlns:a16="http://schemas.microsoft.com/office/drawing/2014/main" id="{4528C0C0-13CF-4923-BF16-1BF08A6B1F61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BB2100F-7218-4B42-A0F6-708B3099C2D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34" name="Bar 2">
            <a:extLst>
              <a:ext uri="{FF2B5EF4-FFF2-40B4-BE49-F238E27FC236}">
                <a16:creationId xmlns:a16="http://schemas.microsoft.com/office/drawing/2014/main" id="{6E1409FA-CB5A-4E62-B398-31811D30F2C9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D554DE6-C89B-439D-8AC0-7953BD32DDA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41" name="Bar 3">
            <a:extLst>
              <a:ext uri="{FF2B5EF4-FFF2-40B4-BE49-F238E27FC236}">
                <a16:creationId xmlns:a16="http://schemas.microsoft.com/office/drawing/2014/main" id="{5A2B4F40-8B7E-49DE-8057-F2AFFFAB4C3E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fr-FR" sz="1600"/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9DD97A7F-E52D-451B-BFCE-3752FFFAB1D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43" name="Footer Placeholder">
            <a:extLst>
              <a:ext uri="{FF2B5EF4-FFF2-40B4-BE49-F238E27FC236}">
                <a16:creationId xmlns:a16="http://schemas.microsoft.com/office/drawing/2014/main" id="{B47BD8B5-DD34-4808-A704-FAE384E12D6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44" name="Footnotes">
            <a:extLst>
              <a:ext uri="{FF2B5EF4-FFF2-40B4-BE49-F238E27FC236}">
                <a16:creationId xmlns:a16="http://schemas.microsoft.com/office/drawing/2014/main" id="{3F0B16F9-A606-4DAD-9352-729170C478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441E3-123B-4E8F-ADA2-D8D4BFEADE9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  <p:sp>
        <p:nvSpPr>
          <p:cNvPr id="48" name="Date Placeholder">
            <a:extLst>
              <a:ext uri="{FF2B5EF4-FFF2-40B4-BE49-F238E27FC236}">
                <a16:creationId xmlns:a16="http://schemas.microsoft.com/office/drawing/2014/main" id="{8A375F88-DB15-4AB1-A484-F95564D4F20D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02A4BA8-6CB9-4557-8601-146C98755E3A}" type="datetime4">
              <a:rPr lang="fr-FR" smtClean="0"/>
              <a:t>5 octobre 2023</a:t>
            </a:fld>
            <a:endParaRPr lang="fr-FR"/>
          </a:p>
        </p:txBody>
      </p:sp>
      <p:sp>
        <p:nvSpPr>
          <p:cNvPr id="49" name="Slide Number Placeholder">
            <a:extLst>
              <a:ext uri="{FF2B5EF4-FFF2-40B4-BE49-F238E27FC236}">
                <a16:creationId xmlns:a16="http://schemas.microsoft.com/office/drawing/2014/main" id="{3EB392F9-4508-414B-A57F-94EF76303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26531090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66305D6-560D-4678-86D5-8C6D034C4B1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9694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66305D6-560D-4678-86D5-8C6D034C4B1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BCC65FDA-CE18-4AF7-99AE-C4C6E78F7F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B58097A6-7894-405E-9725-4C6CF2D442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8B7EF5F6-379E-4FDA-B926-AE2FCBC32059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2" y="1733550"/>
            <a:ext cx="5477256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C8CF5252-2346-4DD0-8642-B65B6A8552A3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2784" y="1733550"/>
            <a:ext cx="5477256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22C75906-6DD8-47EA-BABE-4156FD399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 dirty="0"/>
              <a:t>[Optional footnotes/references]</a:t>
            </a: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4B722F-BF59-44F5-AF54-E0B6BA624E4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6" name="Slide Number Placeholder">
            <a:extLst>
              <a:ext uri="{FF2B5EF4-FFF2-40B4-BE49-F238E27FC236}">
                <a16:creationId xmlns:a16="http://schemas.microsoft.com/office/drawing/2014/main" id="{BC765C89-94F4-450F-9093-D2D345EF333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35153998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92A5A48-BC27-49E0-A2FD-96602E6238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82803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92A5A48-BC27-49E0-A2FD-96602E6238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D737932D-FCA8-4FE7-BDF6-0CBBD2E056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A166B68F-1750-47B7-BE76-BDE1FBC451B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 dirty="0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815722B4-2F31-46FF-B6E8-AC2791F179C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1733550"/>
            <a:ext cx="3529584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AB7BCD93-145E-4206-80FA-78F087F627DB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1733550"/>
            <a:ext cx="3529584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02BDFE6E-990E-4797-9D93-DA8D4741A35C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1733550"/>
            <a:ext cx="3529584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7" name="Footnotes">
            <a:extLst>
              <a:ext uri="{FF2B5EF4-FFF2-40B4-BE49-F238E27FC236}">
                <a16:creationId xmlns:a16="http://schemas.microsoft.com/office/drawing/2014/main" id="{69668BB1-4E88-49BE-B452-33C7979AF16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D1D6E8BA-A66A-4E44-8465-3AEC4D417588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Slide Number Placeholder">
            <a:extLst>
              <a:ext uri="{FF2B5EF4-FFF2-40B4-BE49-F238E27FC236}">
                <a16:creationId xmlns:a16="http://schemas.microsoft.com/office/drawing/2014/main" id="{0FF9B6AC-55D6-405C-AE28-D4603674ED5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7039979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93FB97C-3357-44FB-8533-71CCC4D8AF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570743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93FB97C-3357-44FB-8533-71CCC4D8AF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9FA1BCF6-808C-4EC2-97E2-6750F4BFAD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2C54B5C3-8CF6-4602-81F2-AEFB7CC3AC2F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6" name="Content Placeholder 1">
            <a:extLst>
              <a:ext uri="{FF2B5EF4-FFF2-40B4-BE49-F238E27FC236}">
                <a16:creationId xmlns:a16="http://schemas.microsoft.com/office/drawing/2014/main" id="{CDA4A270-D7CE-430F-8494-73A0BD8B6166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8912" y="1733550"/>
            <a:ext cx="7422960" cy="15125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id="{3F5ECE49-C274-40E0-AA56-81F08FA64029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E4439437-BE51-42E7-9D81-3995B12526B2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18288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9" name="Bar 2">
            <a:extLst>
              <a:ext uri="{FF2B5EF4-FFF2-40B4-BE49-F238E27FC236}">
                <a16:creationId xmlns:a16="http://schemas.microsoft.com/office/drawing/2014/main" id="{0FFF4E4D-557A-4503-8BEB-FFE9C06AB660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1" name="Content Placeholder 3">
            <a:extLst>
              <a:ext uri="{FF2B5EF4-FFF2-40B4-BE49-F238E27FC236}">
                <a16:creationId xmlns:a16="http://schemas.microsoft.com/office/drawing/2014/main" id="{77BD7C9E-90FC-4700-8089-C34BBF90F09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18288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7" name="Bar 3">
            <a:extLst>
              <a:ext uri="{FF2B5EF4-FFF2-40B4-BE49-F238E27FC236}">
                <a16:creationId xmlns:a16="http://schemas.microsoft.com/office/drawing/2014/main" id="{DC3DA640-B0E9-404A-B2EB-98A85C588DDB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35AC14DF-314C-46A8-AD4C-A6D87999EC2B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18288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tx1"/>
                </a:solidFill>
              </a:defRPr>
            </a:lvl1pPr>
            <a:lvl2pPr marL="36576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0" name="Footnotes">
            <a:extLst>
              <a:ext uri="{FF2B5EF4-FFF2-40B4-BE49-F238E27FC236}">
                <a16:creationId xmlns:a16="http://schemas.microsoft.com/office/drawing/2014/main" id="{E97A107A-932D-4677-9091-ED83002C0B3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1CFF61AC-BF55-447C-BE65-835586C74F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45" name="Slide Number Placeholder">
            <a:extLst>
              <a:ext uri="{FF2B5EF4-FFF2-40B4-BE49-F238E27FC236}">
                <a16:creationId xmlns:a16="http://schemas.microsoft.com/office/drawing/2014/main" id="{BB877A6C-7E3B-4068-8B9A-8B5C6E2EFFE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0058408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07E26C4-A2E6-41A6-AC6F-9935EEC0C52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2425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07E26C4-A2E6-41A6-AC6F-9935EEC0C5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1212E443-AC5C-47CE-A03C-CA7F8A467CE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[Slide title]</a:t>
            </a:r>
          </a:p>
        </p:txBody>
      </p:sp>
      <p:sp>
        <p:nvSpPr>
          <p:cNvPr id="24" name="Subtitle">
            <a:extLst>
              <a:ext uri="{FF2B5EF4-FFF2-40B4-BE49-F238E27FC236}">
                <a16:creationId xmlns:a16="http://schemas.microsoft.com/office/drawing/2014/main" id="{AA8FC0D8-F786-4C92-B20E-F1B0842A80E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ZA" dirty="0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73D7DC6B-43FD-4864-B4C5-27C4B48BB41A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38912" y="1733550"/>
            <a:ext cx="7422960" cy="1512570"/>
          </a:xfrm>
        </p:spPr>
        <p:txBody>
          <a:bodyPr/>
          <a:lstStyle>
            <a:lvl1pPr rtl="0">
              <a:defRPr>
                <a:solidFill>
                  <a:srgbClr val="1EC0EB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32" name="Bar 1">
            <a:extLst>
              <a:ext uri="{FF2B5EF4-FFF2-40B4-BE49-F238E27FC236}">
                <a16:creationId xmlns:a16="http://schemas.microsoft.com/office/drawing/2014/main" id="{4528C0C0-13CF-4923-BF16-1BF08A6B1F61}"/>
              </a:ext>
            </a:extLst>
          </p:cNvPr>
          <p:cNvSpPr/>
          <p:nvPr userDrawn="1"/>
        </p:nvSpPr>
        <p:spPr bwMode="hidden">
          <a:xfrm>
            <a:off x="442913" y="3429000"/>
            <a:ext cx="3529584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3" name="Content Placeholder 2">
            <a:extLst>
              <a:ext uri="{FF2B5EF4-FFF2-40B4-BE49-F238E27FC236}">
                <a16:creationId xmlns:a16="http://schemas.microsoft.com/office/drawing/2014/main" id="{EBB2100F-7218-4B42-A0F6-708B3099C2D3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3707362"/>
            <a:ext cx="3529584" cy="2510558"/>
          </a:xfrm>
        </p:spPr>
        <p:txBody>
          <a:bodyPr>
            <a:noAutofit/>
          </a:bodyPr>
          <a:lstStyle>
            <a:lvl1pPr marL="0" indent="0" rtl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rgbClr val="1EC0EB"/>
                </a:solidFill>
              </a:defRPr>
            </a:lvl1pPr>
            <a:lvl2pPr marL="468630" indent="-28575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34" name="Bar 2">
            <a:extLst>
              <a:ext uri="{FF2B5EF4-FFF2-40B4-BE49-F238E27FC236}">
                <a16:creationId xmlns:a16="http://schemas.microsoft.com/office/drawing/2014/main" id="{6E1409FA-CB5A-4E62-B398-31811D30F2C9}"/>
              </a:ext>
            </a:extLst>
          </p:cNvPr>
          <p:cNvSpPr/>
          <p:nvPr userDrawn="1"/>
        </p:nvSpPr>
        <p:spPr bwMode="hidden">
          <a:xfrm>
            <a:off x="4332288" y="3429000"/>
            <a:ext cx="3529584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D554DE6-C89B-439D-8AC0-7953BD32DDA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32288" y="3707362"/>
            <a:ext cx="3529584" cy="2510558"/>
          </a:xfrm>
        </p:spPr>
        <p:txBody>
          <a:bodyPr>
            <a:noAutofit/>
          </a:bodyPr>
          <a:lstStyle>
            <a:lvl1pPr marL="0" indent="0" rtl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rgbClr val="1EC0EB"/>
                </a:solidFill>
              </a:defRPr>
            </a:lvl1pPr>
            <a:lvl2pPr marL="468630" indent="-28575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41" name="Bar 3">
            <a:extLst>
              <a:ext uri="{FF2B5EF4-FFF2-40B4-BE49-F238E27FC236}">
                <a16:creationId xmlns:a16="http://schemas.microsoft.com/office/drawing/2014/main" id="{5A2B4F40-8B7E-49DE-8057-F2AFFFAB4C3E}"/>
              </a:ext>
            </a:extLst>
          </p:cNvPr>
          <p:cNvSpPr/>
          <p:nvPr userDrawn="1"/>
        </p:nvSpPr>
        <p:spPr bwMode="hidden">
          <a:xfrm>
            <a:off x="8220076" y="3429000"/>
            <a:ext cx="3529584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9DD97A7F-E52D-451B-BFCE-3752FFFAB1D9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8220076" y="3707362"/>
            <a:ext cx="3529584" cy="2510558"/>
          </a:xfrm>
        </p:spPr>
        <p:txBody>
          <a:bodyPr>
            <a:noAutofit/>
          </a:bodyPr>
          <a:lstStyle>
            <a:lvl1pPr marL="0" indent="0" rtl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rgbClr val="1EC0EB"/>
                </a:solidFill>
              </a:defRPr>
            </a:lvl1pPr>
            <a:lvl2pPr marL="468630" indent="-28575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bg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>
                <a:solidFill>
                  <a:schemeClr val="tx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44" name="Footnotes">
            <a:extLst>
              <a:ext uri="{FF2B5EF4-FFF2-40B4-BE49-F238E27FC236}">
                <a16:creationId xmlns:a16="http://schemas.microsoft.com/office/drawing/2014/main" id="{3F0B16F9-A606-4DAD-9352-729170C4789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818441E3-123B-4E8F-ADA2-D8D4BFEADE9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  <p:sp>
        <p:nvSpPr>
          <p:cNvPr id="49" name="Slide Number Placeholder">
            <a:extLst>
              <a:ext uri="{FF2B5EF4-FFF2-40B4-BE49-F238E27FC236}">
                <a16:creationId xmlns:a16="http://schemas.microsoft.com/office/drawing/2014/main" id="{3EB392F9-4508-414B-A57F-94EF7630333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2653644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564BD92E-C256-4A49-A648-8DA748B024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995489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564BD92E-C256-4A49-A648-8DA748B024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A13C7403-DA56-4ADF-B8A2-F50FA32C2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A2405AF9-958A-4126-AF15-88210706CFE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AAC838D4-7E3E-4DE2-B89E-753674E22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792B84AA-3979-4DE1-B57E-2786D68974B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7D9E49-7B50-49A3-89D2-127A4FD40E2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110187113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7A4CFD-2EA7-4729-BA75-7B923AA42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07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7A4CFD-2EA7-4729-BA75-7B923AA42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890254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7A4CFD-2EA7-4729-BA75-7B923AA42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07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7A4CFD-2EA7-4729-BA75-7B923AA42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2909824"/>
            <a:ext cx="11306175" cy="841248"/>
          </a:xfrm>
        </p:spPr>
        <p:txBody>
          <a:bodyPr vert="horz"/>
          <a:lstStyle>
            <a:lvl1pPr rtl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[Chapter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584894"/>
            <a:ext cx="1182687" cy="414084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ZA" dirty="0"/>
              <a:t>#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94131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 - Burgundy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A7A4CFD-2EA7-4729-BA75-7B923AA42A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8207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A7A4CFD-2EA7-4729-BA75-7B923AA42A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2909824"/>
            <a:ext cx="11306175" cy="841248"/>
          </a:xfrm>
        </p:spPr>
        <p:txBody>
          <a:bodyPr vert="horz"/>
          <a:lstStyle>
            <a:lvl1pPr rtl="0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[Chapter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584894"/>
            <a:ext cx="1182687" cy="414084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66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ZA" dirty="0"/>
              <a:t>#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049257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- Dark Blue Abo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238DE-9575-47F4-9F9D-D1EA25CC4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37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238DE-9575-47F4-9F9D-D1EA25CC4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1448448"/>
          </a:xfrm>
          <a:solidFill>
            <a:srgbClr val="224099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143904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1838846"/>
            <a:ext cx="6313488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EA0788F-A4FE-64C3-30CD-5717C39874A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7226300" y="1803400"/>
            <a:ext cx="4522788" cy="4389438"/>
          </a:xfrm>
        </p:spPr>
        <p:txBody>
          <a:bodyPr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01009213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238DE-9575-47F4-9F9D-D1EA25CC4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37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238DE-9575-47F4-9F9D-D1EA25CC4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1448448"/>
          </a:xfrm>
          <a:solidFill>
            <a:srgbClr val="224099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143904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2" y="1838846"/>
            <a:ext cx="5399088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7EA0788F-A4FE-64C3-30CD-5717C39874A5}"/>
              </a:ext>
            </a:extLst>
          </p:cNvPr>
          <p:cNvSpPr>
            <a:spLocks noGrp="1"/>
          </p:cNvSpPr>
          <p:nvPr>
            <p:ph sz="quarter" idx="31"/>
          </p:nvPr>
        </p:nvSpPr>
        <p:spPr>
          <a:xfrm>
            <a:off x="6350000" y="1803400"/>
            <a:ext cx="5399088" cy="4389438"/>
          </a:xfrm>
        </p:spPr>
        <p:txBody>
          <a:bodyPr/>
          <a:lstStyle/>
          <a:p>
            <a:pPr lvl="0"/>
            <a:r>
              <a:rPr lang="fr-FR" dirty="0"/>
              <a:t>Cliquez pour modifier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2473323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A13C7403-DA56-4ADF-B8A2-F50FA32C2E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latin typeface="Sailec-Bold" panose="00000800000000000000" pitchFamily="2" charset="0"/>
              </a:defRPr>
            </a:lvl1pPr>
          </a:lstStyle>
          <a:p>
            <a:r>
              <a:rPr lang="fr-FR" dirty="0"/>
              <a:t>[Slide </a:t>
            </a:r>
            <a:r>
              <a:rPr lang="fr-FR" dirty="0" err="1"/>
              <a:t>title</a:t>
            </a:r>
            <a:r>
              <a:rPr lang="fr-FR" dirty="0"/>
              <a:t>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A2405AF9-958A-4126-AF15-88210706CFE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AAC838D4-7E3E-4DE2-B89E-753674E2206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47D9E49-7B50-49A3-89D2-127A4FD40E2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CF36C74B-A6E8-9963-BCE0-EF5505D106D2}"/>
              </a:ext>
            </a:extLst>
          </p:cNvPr>
          <p:cNvSpPr>
            <a:spLocks noGrp="1"/>
          </p:cNvSpPr>
          <p:nvPr>
            <p:ph type="dt" sz="half" idx="18"/>
          </p:nvPr>
        </p:nvSpPr>
        <p:spPr/>
        <p:txBody>
          <a:bodyPr/>
          <a:lstStyle/>
          <a:p>
            <a:pPr algn="r"/>
            <a:fld id="{AB1D6CF9-F7BC-4491-BB44-B214B2AAF76B}" type="datetime4">
              <a:rPr lang="fr-FR" smtClean="0"/>
              <a:t>5 octobre 2023</a:t>
            </a:fld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05AA25B-1AB4-85E5-4D43-6B2A1842736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fr-FR"/>
              <a:t>Title</a:t>
            </a:r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4D560B39-7C33-DAC2-4566-C233789EE549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238DE-9575-47F4-9F9D-D1EA25CC4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37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238DE-9575-47F4-9F9D-D1EA25CC4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1448448"/>
          </a:xfrm>
          <a:solidFill>
            <a:srgbClr val="224099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143904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3" y="1838846"/>
            <a:ext cx="3529012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FEE9F0-7766-418C-A69A-F8A0F3DE9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2286" y="1838846"/>
            <a:ext cx="3529013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BF25BBA-2140-4A9E-8688-FD1362C0B8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073" y="1838846"/>
            <a:ext cx="3529013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572696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and Three Colum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92238DE-9575-47F4-9F9D-D1EA25CC42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8378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92238DE-9575-47F4-9F9D-D1EA25CC42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Footnotes">
            <a:extLst>
              <a:ext uri="{FF2B5EF4-FFF2-40B4-BE49-F238E27FC236}">
                <a16:creationId xmlns:a16="http://schemas.microsoft.com/office/drawing/2014/main" id="{D75ECF23-F070-4918-83E3-DEC221D91BF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21A50B90-1F24-46ED-970D-8B367D0F322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6D65C7F-5A03-4FEB-9BDF-E98182E8482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7" name="Picture Placeholder 1">
            <a:extLst>
              <a:ext uri="{FF2B5EF4-FFF2-40B4-BE49-F238E27FC236}">
                <a16:creationId xmlns:a16="http://schemas.microsoft.com/office/drawing/2014/main" id="{27F4C940-2102-443E-AF3A-BA3834FF5B3D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1"/>
            <a:ext cx="12192000" cy="1448448"/>
          </a:xfrm>
          <a:solidFill>
            <a:srgbClr val="224099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8" name="Bar">
            <a:extLst>
              <a:ext uri="{FF2B5EF4-FFF2-40B4-BE49-F238E27FC236}">
                <a16:creationId xmlns:a16="http://schemas.microsoft.com/office/drawing/2014/main" id="{B277789D-03C1-421D-9C81-7EAE51860521}"/>
              </a:ext>
            </a:extLst>
          </p:cNvPr>
          <p:cNvSpPr/>
          <p:nvPr userDrawn="1"/>
        </p:nvSpPr>
        <p:spPr bwMode="hidden">
          <a:xfrm>
            <a:off x="-1" y="143904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9" name="Title">
            <a:extLst>
              <a:ext uri="{FF2B5EF4-FFF2-40B4-BE49-F238E27FC236}">
                <a16:creationId xmlns:a16="http://schemas.microsoft.com/office/drawing/2014/main" id="{A0570C3B-75EC-45D4-ABC3-736E2513DB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42913" y="390398"/>
            <a:ext cx="11306175" cy="841248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 Placeholder 1">
            <a:extLst>
              <a:ext uri="{FF2B5EF4-FFF2-40B4-BE49-F238E27FC236}">
                <a16:creationId xmlns:a16="http://schemas.microsoft.com/office/drawing/2014/main" id="{E9661682-399F-462A-9E26-F15D5074461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3" y="1838846"/>
            <a:ext cx="3529012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ECFEE9F0-7766-418C-A69A-F8A0F3DE96E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2286" y="1838846"/>
            <a:ext cx="3529013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FBF25BBA-2140-4A9E-8688-FD1362C0B8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073" y="1838846"/>
            <a:ext cx="3529013" cy="4379074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1301286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rgbClr val="1EC0EB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E5D09E8-34C3-4D2D-A9A8-E71746D899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816908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E5D09E8-34C3-4D2D-A9A8-E71746D899D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7BD80747-7BE5-45EB-BB0D-3717F927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424363E5-A7B4-4624-8E0A-1B48966C6CA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en-ZA" dirty="0"/>
              <a:t>[Optional slide subtitle]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D60C340B-39B5-4D10-B8E6-C4B9C245A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 dirty="0"/>
              <a:t>[Optional footnotes/references]</a:t>
            </a:r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18E18123-C856-4CA6-A18D-BDA198D0F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551E0FF-CEC5-4557-8B91-660F64F3B25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8443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C6867BD-8B38-48BE-A782-6C18194C94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80033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C6867BD-8B38-48BE-A782-6C18194C94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CA3B1AF-08CB-42ED-8E9B-4DF0808AE1F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948CDBDB-853A-40BF-9A97-2EE5BB854C7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1733550"/>
            <a:ext cx="2560320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67CE1D3-0BEF-4328-96FE-CD6DAE3C02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60613" y="1733550"/>
            <a:ext cx="2560320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2AB30038-1641-4536-B3C2-7A45382457B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5388" y="1733550"/>
            <a:ext cx="2560320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41A70BE8-CB7D-4748-BF26-EE78808AD0F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9190163" y="1733550"/>
            <a:ext cx="2560320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9" name="Footnotes">
            <a:extLst>
              <a:ext uri="{FF2B5EF4-FFF2-40B4-BE49-F238E27FC236}">
                <a16:creationId xmlns:a16="http://schemas.microsoft.com/office/drawing/2014/main" id="{42AEC844-65A2-4CF5-8C04-8DA348B149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6" name="Title 4">
            <a:extLst>
              <a:ext uri="{FF2B5EF4-FFF2-40B4-BE49-F238E27FC236}">
                <a16:creationId xmlns:a16="http://schemas.microsoft.com/office/drawing/2014/main" id="{797886DF-D612-459E-80B3-3796643CA6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7036C1-362C-4A4B-88A1-695EE5107CF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id="{5FA9322C-9575-4CC6-B771-247968E28E1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69400759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583AEDD-B711-4B46-A376-B3FA579840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66425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583AEDD-B711-4B46-A376-B3FA579840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A8A6C598-B07B-4DA8-B11B-027A5FE447E6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8" name="Content Placeholder 1">
            <a:extLst>
              <a:ext uri="{FF2B5EF4-FFF2-40B4-BE49-F238E27FC236}">
                <a16:creationId xmlns:a16="http://schemas.microsoft.com/office/drawing/2014/main" id="{EA6DDB05-88B4-469B-B33D-09573FBEB712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442912" y="1733550"/>
            <a:ext cx="1995487" cy="4484370"/>
          </a:xfrm>
        </p:spPr>
        <p:txBody>
          <a:bodyPr>
            <a:normAutofit/>
          </a:bodyPr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D26FD4F6-714C-4CC3-A77A-D2EE33995150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777045" y="1733550"/>
            <a:ext cx="1975104" cy="448437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5" name="Content Placeholder 3">
            <a:extLst>
              <a:ext uri="{FF2B5EF4-FFF2-40B4-BE49-F238E27FC236}">
                <a16:creationId xmlns:a16="http://schemas.microsoft.com/office/drawing/2014/main" id="{F97C340F-8334-40CE-94F7-CA0C0BFEBFAA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111177" y="1733550"/>
            <a:ext cx="1975104" cy="448437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E5435D24-E661-42D9-9E24-9A89D1793100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445309" y="1733550"/>
            <a:ext cx="1975104" cy="448437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7" name="Content Placeholder 5">
            <a:extLst>
              <a:ext uri="{FF2B5EF4-FFF2-40B4-BE49-F238E27FC236}">
                <a16:creationId xmlns:a16="http://schemas.microsoft.com/office/drawing/2014/main" id="{2F9D4C6B-4842-4710-AA94-89CF4F98399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779443" y="1733550"/>
            <a:ext cx="1975104" cy="4484370"/>
          </a:xfrm>
        </p:spPr>
        <p:txBody>
          <a:bodyPr/>
          <a:lstStyle>
            <a:lvl1pPr rtl="0"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id="{DC600377-7435-442C-9FA3-088AF40F442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8" name="Title 2">
            <a:extLst>
              <a:ext uri="{FF2B5EF4-FFF2-40B4-BE49-F238E27FC236}">
                <a16:creationId xmlns:a16="http://schemas.microsoft.com/office/drawing/2014/main" id="{D59B0C61-DAAE-487E-92B3-14B1850DE8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3FC106A9-F078-43DC-B062-A32F662335B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41" name="Slide Number Placeholder">
            <a:extLst>
              <a:ext uri="{FF2B5EF4-FFF2-40B4-BE49-F238E27FC236}">
                <a16:creationId xmlns:a16="http://schemas.microsoft.com/office/drawing/2014/main" id="{9D7075A8-A42C-4080-A31C-82DF8366571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93252678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E732F85-F381-44E7-A370-053286989FC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39038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E732F85-F381-44E7-A370-053286989FC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F23721E5-D2E0-4D24-BEC2-A99990BEEC5A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5" name="Content Placeholder 1">
            <a:extLst>
              <a:ext uri="{FF2B5EF4-FFF2-40B4-BE49-F238E27FC236}">
                <a16:creationId xmlns:a16="http://schemas.microsoft.com/office/drawing/2014/main" id="{E48D8E51-1794-4DCF-9930-E8F0A16E9030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2" y="1733550"/>
            <a:ext cx="3529585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411C3CC4-2EC2-4A8C-8E5C-5CB14D78205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327525" y="1733550"/>
            <a:ext cx="7421563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65F7AC9F-8AEC-4145-A721-789D4A0843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9" name="Title 6">
            <a:extLst>
              <a:ext uri="{FF2B5EF4-FFF2-40B4-BE49-F238E27FC236}">
                <a16:creationId xmlns:a16="http://schemas.microsoft.com/office/drawing/2014/main" id="{60EBB30B-A4BA-491B-9121-8DBAC77E7DA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6B7B217-C9F1-4C78-B23E-E66D25C8BC3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2" name="Slide Number Placeholder">
            <a:extLst>
              <a:ext uri="{FF2B5EF4-FFF2-40B4-BE49-F238E27FC236}">
                <a16:creationId xmlns:a16="http://schemas.microsoft.com/office/drawing/2014/main" id="{D2A66F40-D090-4337-B083-1081B3FF14D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79660427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F8AE8FC-6AAE-43C1-9B38-C18A75ACDE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29693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F8AE8FC-6AAE-43C1-9B38-C18A75ACDE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F8FA9962-F114-49BC-BC96-AC8866CAED1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34D58982-3374-414E-8FB2-6CFDE353292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2" y="1733550"/>
            <a:ext cx="7418387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6CFE4226-2F06-423B-A1EC-460F9571E7C1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219504" y="1733550"/>
            <a:ext cx="3529584" cy="448437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35" name="Footnotes">
            <a:extLst>
              <a:ext uri="{FF2B5EF4-FFF2-40B4-BE49-F238E27FC236}">
                <a16:creationId xmlns:a16="http://schemas.microsoft.com/office/drawing/2014/main" id="{946A5032-7CCE-432E-9432-78EDF21EFE8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 dirty="0"/>
              <a:t>[Optional footnotes/references]</a:t>
            </a:r>
          </a:p>
        </p:txBody>
      </p:sp>
      <p:sp>
        <p:nvSpPr>
          <p:cNvPr id="39" name="Title 4">
            <a:extLst>
              <a:ext uri="{FF2B5EF4-FFF2-40B4-BE49-F238E27FC236}">
                <a16:creationId xmlns:a16="http://schemas.microsoft.com/office/drawing/2014/main" id="{9ED94039-D8CF-4A25-A51C-1686035F6A1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A195986A-9D34-49CB-A017-74F853B9133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42" name="Slide Number Placeholder">
            <a:extLst>
              <a:ext uri="{FF2B5EF4-FFF2-40B4-BE49-F238E27FC236}">
                <a16:creationId xmlns:a16="http://schemas.microsoft.com/office/drawing/2014/main" id="{7D15CBF5-040C-40B9-9666-6B4FCF98E55C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1206410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EF37AF1-F216-4685-87C8-3F6A9A4548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512075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EF37AF1-F216-4685-87C8-3F6A9A4548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Picture Placeholder 1">
            <a:extLst>
              <a:ext uri="{FF2B5EF4-FFF2-40B4-BE49-F238E27FC236}">
                <a16:creationId xmlns:a16="http://schemas.microsoft.com/office/drawing/2014/main" id="{C8AD015F-145B-4409-A2AF-08B32468540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218488" y="0"/>
            <a:ext cx="3973512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E332532E-C4EF-448B-914D-519E25C5C25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4" y="384048"/>
            <a:ext cx="7418386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B5EF088A-C135-45C3-A628-B52B623481D3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42914" y="1276212"/>
            <a:ext cx="7418386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31" name="Content Placeholder 1">
            <a:extLst>
              <a:ext uri="{FF2B5EF4-FFF2-40B4-BE49-F238E27FC236}">
                <a16:creationId xmlns:a16="http://schemas.microsoft.com/office/drawing/2014/main" id="{807F4F4C-9FCA-4637-8E06-F7D5A2E2B72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1" y="1733550"/>
            <a:ext cx="7422389" cy="448310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33" name="Footnotes">
            <a:extLst>
              <a:ext uri="{FF2B5EF4-FFF2-40B4-BE49-F238E27FC236}">
                <a16:creationId xmlns:a16="http://schemas.microsoft.com/office/drawing/2014/main" id="{6E455100-6EAB-48FF-A67E-EEA79A735F6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432304" y="6355077"/>
            <a:ext cx="5428996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CF64CC9-EDC6-42C4-B019-4442C7A7442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39" name="Slide Number Placeholder">
            <a:extLst>
              <a:ext uri="{FF2B5EF4-FFF2-40B4-BE49-F238E27FC236}">
                <a16:creationId xmlns:a16="http://schemas.microsoft.com/office/drawing/2014/main" id="{304F92D2-FBEE-4C4B-8F17-4E47095EEE4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2957675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27F661E-8E67-481C-8BB6-A5A2C9FA76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706327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27F661E-8E67-481C-8BB6-A5A2C9FA76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F6B62B92-FBC7-464F-9B5F-EC33F9E0C8B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6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id="{A7FD347F-CFB1-408F-A57F-7AD02BE50899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1EC0EB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180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C46E772D-B303-4807-8D0A-F50882BA295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2607" y="1461772"/>
            <a:ext cx="5473700" cy="3447285"/>
          </a:xfrm>
        </p:spPr>
        <p:txBody>
          <a:bodyPr vert="horz" tIns="0" anchor="t" anchorCtr="0">
            <a:normAutofit/>
          </a:bodyPr>
          <a:lstStyle>
            <a:lvl1pPr rtl="0">
              <a:defRPr sz="3600">
                <a:solidFill>
                  <a:srgbClr val="224099"/>
                </a:solidFill>
              </a:defRPr>
            </a:lvl1pPr>
          </a:lstStyle>
          <a:p>
            <a:r>
              <a:rPr lang="en-ZA" dirty="0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789552DF-0C11-4FF2-82EB-C981DB115FE4}"/>
              </a:ext>
            </a:extLst>
          </p:cNvPr>
          <p:cNvSpPr/>
          <p:nvPr userDrawn="1"/>
        </p:nvSpPr>
        <p:spPr bwMode="hidden">
          <a:xfrm flipV="1">
            <a:off x="442912" y="5166361"/>
            <a:ext cx="5653088" cy="45719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3F9B8648-40AE-405C-B883-8E05E574949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ZA" dirty="0"/>
              <a:t>[</a:t>
            </a:r>
            <a:r>
              <a:rPr lang="en-ZA" dirty="0" err="1"/>
              <a:t>Firstname</a:t>
            </a:r>
            <a:r>
              <a:rPr lang="en-ZA" dirty="0"/>
              <a:t> </a:t>
            </a:r>
            <a:r>
              <a:rPr lang="en-ZA" dirty="0" err="1"/>
              <a:t>Lastname</a:t>
            </a:r>
            <a:r>
              <a:rPr lang="en-ZA" dirty="0"/>
              <a:t>]</a:t>
            </a:r>
          </a:p>
          <a:p>
            <a:pPr lvl="1"/>
            <a:r>
              <a:rPr lang="en-ZA" dirty="0"/>
              <a:t>[Title, Organization]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FD0F3E81-53B8-4B9F-99B4-61E5C2C1050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6DD8E88D-E31B-4AAD-8233-B75C1FDC395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0138A974-6329-4398-B4DA-832FB9D99D96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6955350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8AC2F385-C91C-496D-8FF0-99563B52A29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640356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8AC2F385-C91C-496D-8FF0-99563B52A2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Quote">
            <a:extLst>
              <a:ext uri="{FF2B5EF4-FFF2-40B4-BE49-F238E27FC236}">
                <a16:creationId xmlns:a16="http://schemas.microsoft.com/office/drawing/2014/main" id="{79D8C360-BC59-460F-A300-4D71FA7C6AF1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42913" y="377825"/>
            <a:ext cx="572385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rtl="0"/>
            <a:endParaRPr lang="en-ZA">
              <a:solidFill>
                <a:schemeClr val="bg1"/>
              </a:solidFill>
            </a:endParaRP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FBBE6317-9DCC-4252-9936-381BA8DA8D8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1143000"/>
            <a:ext cx="5473700" cy="3886200"/>
          </a:xfrm>
        </p:spPr>
        <p:txBody>
          <a:bodyPr vert="horz" tIns="0" anchor="t" anchorCtr="0">
            <a:normAutofit/>
          </a:bodyPr>
          <a:lstStyle>
            <a:lvl1pPr rtl="0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ZA"/>
              <a:t>[Quote]”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1C8C16E8-214A-49C8-BD1A-854E785CF71D}"/>
              </a:ext>
            </a:extLst>
          </p:cNvPr>
          <p:cNvSpPr/>
          <p:nvPr userDrawn="1"/>
        </p:nvSpPr>
        <p:spPr bwMode="hidden">
          <a:xfrm>
            <a:off x="442912" y="5212080"/>
            <a:ext cx="5473701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>
              <a:solidFill>
                <a:schemeClr val="bg1"/>
              </a:solidFill>
            </a:endParaRP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C98FB46A-8D39-4AE7-BB00-789593C7B169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2913" y="5486400"/>
            <a:ext cx="5473700" cy="730250"/>
          </a:xfrm>
        </p:spPr>
        <p:txBody>
          <a:bodyPr/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bg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>
                <a:solidFill>
                  <a:schemeClr val="tx1"/>
                </a:solidFill>
              </a:defRPr>
            </a:lvl9pPr>
          </a:lstStyle>
          <a:p>
            <a:r>
              <a:rPr lang="en-ZA" dirty="0"/>
              <a:t>[</a:t>
            </a:r>
            <a:r>
              <a:rPr lang="en-ZA" dirty="0" err="1"/>
              <a:t>Firstname</a:t>
            </a:r>
            <a:r>
              <a:rPr lang="en-ZA" dirty="0"/>
              <a:t> </a:t>
            </a:r>
            <a:r>
              <a:rPr lang="en-ZA" dirty="0" err="1"/>
              <a:t>Lastname</a:t>
            </a:r>
            <a:r>
              <a:rPr lang="en-ZA" dirty="0"/>
              <a:t>]</a:t>
            </a:r>
          </a:p>
          <a:p>
            <a:pPr lvl="1"/>
            <a:r>
              <a:rPr lang="en-ZA" dirty="0"/>
              <a:t>[Title, Organization]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E0778EB4-AFEC-4216-A4A2-254563ED57A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3484309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Date Placeholder">
            <a:extLst>
              <a:ext uri="{FF2B5EF4-FFF2-40B4-BE49-F238E27FC236}">
                <a16:creationId xmlns:a16="http://schemas.microsoft.com/office/drawing/2014/main" id="{A9836856-9DD0-42E2-843A-E5C0AE3EBF6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ED2B0B46-80B8-4C91-BF7C-CDDE0E17CEAB}" type="datetime4">
              <a:rPr lang="fr-FR" smtClean="0"/>
              <a:t>5 octobre 2023</a:t>
            </a:fld>
            <a:endParaRPr lang="en-ZA"/>
          </a:p>
        </p:txBody>
      </p:sp>
      <p:sp>
        <p:nvSpPr>
          <p:cNvPr id="31" name="Slide Number Placeholder">
            <a:extLst>
              <a:ext uri="{FF2B5EF4-FFF2-40B4-BE49-F238E27FC236}">
                <a16:creationId xmlns:a16="http://schemas.microsoft.com/office/drawing/2014/main" id="{88891483-1071-4ECC-A083-F506B0B5EB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B065253-7E6D-442A-B7E6-B4E36E218035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  <p:sp>
        <p:nvSpPr>
          <p:cNvPr id="18" name="Picture Placeholder 1">
            <a:extLst>
              <a:ext uri="{FF2B5EF4-FFF2-40B4-BE49-F238E27FC236}">
                <a16:creationId xmlns:a16="http://schemas.microsoft.com/office/drawing/2014/main" id="{B5560237-821E-4AC7-B3ED-717CB1F4C46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6000" cy="6858000"/>
          </a:xfrm>
          <a:solidFill>
            <a:srgbClr val="1EC0EB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 rtl="0">
              <a:buNone/>
              <a:defRPr lang="en-GB" sz="12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ZA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71851749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Light Blue">
    <p:bg>
      <p:bgPr>
        <a:solidFill>
          <a:srgbClr val="00B0F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FFBF3814-3DEF-445D-B9E2-3A95DDB0B8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66372D32-3E78-406C-A078-14A39425C8CD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4DD8A95D-90C8-45AD-BCD0-4373BBD0C48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8A5FA34-730B-4863-A72D-09D12EBFEC9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:a16="http://schemas.microsoft.com/office/drawing/2014/main" id="{25823A77-3FF4-4368-A991-1B1DE936E77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CA7AC50F-54BE-476C-905F-77107F36681F}" type="datetime4">
              <a:rPr lang="fr-FR" smtClean="0"/>
              <a:t>5 octobre 2023</a:t>
            </a:fld>
            <a:endParaRPr lang="fr-FR"/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05ACFF93-5405-4BE7-9162-FE8D5FB57E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42DED7CE-7A78-4010-BBFF-41800038378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02164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8365AFA-F068-4F6A-8318-0CC874145B6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158435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8365AFA-F068-4F6A-8318-0CC874145B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1B43612-4317-4736-BCEF-F2812A94BA5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96C746D1-3511-4B05-8501-041684CB417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>
          <a:xfrm>
            <a:off x="442912" y="6355080"/>
            <a:ext cx="1764792" cy="137160"/>
          </a:xfrm>
          <a:prstGeom prst="rect">
            <a:avLst/>
          </a:prstGeom>
        </p:spPr>
        <p:txBody>
          <a:bodyPr/>
          <a:lstStyle>
            <a:lvl1pPr rtl="0">
              <a:defRPr/>
            </a:lvl1pPr>
          </a:lstStyle>
          <a:p>
            <a:r>
              <a:rPr lang="en-ZA"/>
              <a:t>Title</a:t>
            </a:r>
          </a:p>
        </p:txBody>
      </p:sp>
      <p:sp>
        <p:nvSpPr>
          <p:cNvPr id="20" name="Footnotes">
            <a:extLst>
              <a:ext uri="{FF2B5EF4-FFF2-40B4-BE49-F238E27FC236}">
                <a16:creationId xmlns:a16="http://schemas.microsoft.com/office/drawing/2014/main" id="{6C8DE2B1-4409-40DE-8EC3-7AB4BDED7D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2" name="Date Placeholder">
            <a:extLst>
              <a:ext uri="{FF2B5EF4-FFF2-40B4-BE49-F238E27FC236}">
                <a16:creationId xmlns:a16="http://schemas.microsoft.com/office/drawing/2014/main" id="{6631D538-CCAD-4912-9A50-A08902F7F76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9984296" y="6355080"/>
            <a:ext cx="1764792" cy="137160"/>
          </a:xfrm>
          <a:prstGeom prst="rect">
            <a:avLst/>
          </a:prstGeom>
        </p:spPr>
        <p:txBody>
          <a:bodyPr/>
          <a:lstStyle>
            <a:lvl1pPr algn="r" rtl="0">
              <a:defRPr/>
            </a:lvl1pPr>
          </a:lstStyle>
          <a:p>
            <a:fld id="{174834E7-5CE8-4E76-B160-A92DA4A7C467}" type="datetime4">
              <a:rPr lang="fr-FR" smtClean="0"/>
              <a:t>5 octobre 2023</a:t>
            </a:fld>
            <a:endParaRPr lang="en-ZA"/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B851240E-5052-41B6-8198-34C961A7404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C56D733-09E0-4C6D-8294-3707BA5FE3E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sp>
        <p:nvSpPr>
          <p:cNvPr id="23" name="Picture Placeholder 1">
            <a:extLst>
              <a:ext uri="{FF2B5EF4-FFF2-40B4-BE49-F238E27FC236}">
                <a16:creationId xmlns:a16="http://schemas.microsoft.com/office/drawing/2014/main" id="{20759D59-5943-4F1A-8AFF-5A379F744189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id="{86D87059-B1D0-4044-AA63-1CC75AC3EE70}"/>
              </a:ext>
            </a:extLst>
          </p:cNvPr>
          <p:cNvSpPr/>
          <p:nvPr userDrawn="1"/>
        </p:nvSpPr>
        <p:spPr bwMode="hidden">
          <a:xfrm>
            <a:off x="-1" y="4023360"/>
            <a:ext cx="12191999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17F15890-DF73-46F3-89B5-913E9C0134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vert="horz" anchor="t" anchorCtr="0"/>
          <a:lstStyle>
            <a:lvl1pPr rtl="0">
              <a:defRPr>
                <a:solidFill>
                  <a:srgbClr val="224099"/>
                </a:solidFill>
              </a:defRPr>
            </a:lvl1pPr>
          </a:lstStyle>
          <a:p>
            <a:r>
              <a:rPr lang="en-ZA" dirty="0"/>
              <a:t>[Slide title]</a:t>
            </a:r>
          </a:p>
        </p:txBody>
      </p:sp>
      <p:sp>
        <p:nvSpPr>
          <p:cNvPr id="26" name="Text Placeholder 1">
            <a:extLst>
              <a:ext uri="{FF2B5EF4-FFF2-40B4-BE49-F238E27FC236}">
                <a16:creationId xmlns:a16="http://schemas.microsoft.com/office/drawing/2014/main" id="{D9C2E857-5D1C-4C64-B0E9-BDEDBB151FC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576965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099822E-6750-40C6-AB7F-0D51F9635D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4700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099822E-6750-40C6-AB7F-0D51F9635D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7DEF674-4309-403C-8D9D-71384F2477B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4C97B8DB-C14F-436C-8638-FD56FB43E74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D93BD28D-F425-4AE0-A30C-54412BAB16E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32ABC91C-5BEE-4DDA-B215-CCF8EC9EFA3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  <p:sp>
        <p:nvSpPr>
          <p:cNvPr id="34" name="Picture Placeholder 1">
            <a:extLst>
              <a:ext uri="{FF2B5EF4-FFF2-40B4-BE49-F238E27FC236}">
                <a16:creationId xmlns:a16="http://schemas.microsoft.com/office/drawing/2014/main" id="{09CBE80D-E5C7-4ABD-980A-46E2CD95CC5A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 bwMode="auto">
          <a:xfrm>
            <a:off x="0" y="0"/>
            <a:ext cx="12192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5" name="Bar">
            <a:extLst>
              <a:ext uri="{FF2B5EF4-FFF2-40B4-BE49-F238E27FC236}">
                <a16:creationId xmlns:a16="http://schemas.microsoft.com/office/drawing/2014/main" id="{97AB8526-CB66-42EC-9F76-87BB7F9B61D9}"/>
              </a:ext>
            </a:extLst>
          </p:cNvPr>
          <p:cNvSpPr/>
          <p:nvPr userDrawn="1"/>
        </p:nvSpPr>
        <p:spPr bwMode="hidden">
          <a:xfrm>
            <a:off x="1" y="4023360"/>
            <a:ext cx="12191999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6" name="Title">
            <a:extLst>
              <a:ext uri="{FF2B5EF4-FFF2-40B4-BE49-F238E27FC236}">
                <a16:creationId xmlns:a16="http://schemas.microsoft.com/office/drawing/2014/main" id="{66C8A994-DD7C-4F3F-8218-50D9D75C7C3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42914" y="4391607"/>
            <a:ext cx="5473700" cy="1826895"/>
          </a:xfrm>
        </p:spPr>
        <p:txBody>
          <a:bodyPr vert="horz" anchor="t" anchorCtr="0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[Slide title]</a:t>
            </a:r>
          </a:p>
        </p:txBody>
      </p:sp>
      <p:sp>
        <p:nvSpPr>
          <p:cNvPr id="37" name="Text Placeholder 1">
            <a:extLst>
              <a:ext uri="{FF2B5EF4-FFF2-40B4-BE49-F238E27FC236}">
                <a16:creationId xmlns:a16="http://schemas.microsoft.com/office/drawing/2014/main" id="{EF7B08DD-AF3A-46EB-990D-6F64D0FFEFF2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 bwMode="auto">
          <a:xfrm>
            <a:off x="6275388" y="4391024"/>
            <a:ext cx="5473698" cy="1826895"/>
          </a:xfrm>
        </p:spPr>
        <p:txBody>
          <a:bodyPr>
            <a:noAutofit/>
          </a:bodyPr>
          <a:lstStyle>
            <a:lvl1pPr rtl="0">
              <a:spcBef>
                <a:spcPts val="0"/>
              </a:spcBef>
              <a:defRPr sz="1400" b="1">
                <a:solidFill>
                  <a:schemeClr val="bg1"/>
                </a:solidFill>
              </a:defRPr>
            </a:lvl1pPr>
            <a:lvl2pPr rtl="0">
              <a:defRPr sz="1400">
                <a:solidFill>
                  <a:schemeClr val="bg1"/>
                </a:solidFill>
              </a:defRPr>
            </a:lvl2pPr>
            <a:lvl3pPr rtl="0">
              <a:defRPr sz="1400">
                <a:solidFill>
                  <a:schemeClr val="bg1"/>
                </a:solidFill>
              </a:defRPr>
            </a:lvl3pPr>
            <a:lvl4pPr rtl="0">
              <a:defRPr sz="1400">
                <a:solidFill>
                  <a:schemeClr val="bg1"/>
                </a:solidFill>
              </a:defRPr>
            </a:lvl4pPr>
            <a:lvl5pPr rtl="0">
              <a:defRPr sz="1400">
                <a:solidFill>
                  <a:schemeClr val="bg1"/>
                </a:solidFill>
              </a:defRPr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 dirty="0"/>
              <a:t>Click to edit Master text styles</a:t>
            </a:r>
          </a:p>
          <a:p>
            <a:pPr lvl="1"/>
            <a:r>
              <a:rPr lang="en-ZA" dirty="0"/>
              <a:t>Second level</a:t>
            </a:r>
          </a:p>
          <a:p>
            <a:pPr lvl="2"/>
            <a:r>
              <a:rPr lang="en-ZA" dirty="0"/>
              <a:t>Third level</a:t>
            </a:r>
          </a:p>
          <a:p>
            <a:pPr lvl="3"/>
            <a:r>
              <a:rPr lang="en-ZA" dirty="0"/>
              <a:t>Fourth level</a:t>
            </a:r>
          </a:p>
          <a:p>
            <a:pPr lvl="4"/>
            <a:r>
              <a:rPr lang="en-ZA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2838150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2EE525E-48D3-489D-98DD-26EDAFFE33E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79421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2EE525E-48D3-489D-98DD-26EDAFFE33E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3" name="Title">
            <a:extLst>
              <a:ext uri="{FF2B5EF4-FFF2-40B4-BE49-F238E27FC236}">
                <a16:creationId xmlns:a16="http://schemas.microsoft.com/office/drawing/2014/main" id="{4A39002C-56A5-4F92-B559-A5A216D817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25" name="Subtitle">
            <a:extLst>
              <a:ext uri="{FF2B5EF4-FFF2-40B4-BE49-F238E27FC236}">
                <a16:creationId xmlns:a16="http://schemas.microsoft.com/office/drawing/2014/main" id="{D019EA75-2970-4D89-AA4E-98EF0C50724E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 dirty="0"/>
              <a:t>[Optional slide subtitle]</a:t>
            </a:r>
          </a:p>
        </p:txBody>
      </p:sp>
      <p:sp>
        <p:nvSpPr>
          <p:cNvPr id="26" name="Picture Placeholder 1">
            <a:extLst>
              <a:ext uri="{FF2B5EF4-FFF2-40B4-BE49-F238E27FC236}">
                <a16:creationId xmlns:a16="http://schemas.microsoft.com/office/drawing/2014/main" id="{13A0AA42-117B-4891-B3D4-1F96CBC6B953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42911" y="1733550"/>
            <a:ext cx="352958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27" name="Bar 1">
            <a:extLst>
              <a:ext uri="{FF2B5EF4-FFF2-40B4-BE49-F238E27FC236}">
                <a16:creationId xmlns:a16="http://schemas.microsoft.com/office/drawing/2014/main" id="{1184213B-25F1-4DC5-8C67-A5439FA06302}"/>
              </a:ext>
            </a:extLst>
          </p:cNvPr>
          <p:cNvSpPr/>
          <p:nvPr userDrawn="1"/>
        </p:nvSpPr>
        <p:spPr bwMode="hidden">
          <a:xfrm>
            <a:off x="443160" y="3562350"/>
            <a:ext cx="352876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98076474-F2BF-4EE5-B150-2922B3698FD7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442913" y="3840480"/>
            <a:ext cx="3528764" cy="237744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218EB9A3-E677-4A34-859C-1B4F5B4AA496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331494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id="{722A9449-DE35-4A03-AC35-E8FFD255AE08}"/>
              </a:ext>
            </a:extLst>
          </p:cNvPr>
          <p:cNvSpPr/>
          <p:nvPr userDrawn="1"/>
        </p:nvSpPr>
        <p:spPr bwMode="hidden">
          <a:xfrm>
            <a:off x="4331494" y="3562350"/>
            <a:ext cx="352876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C36DCA40-378D-4008-B41E-2088E4AA303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331743" y="3840480"/>
            <a:ext cx="3528764" cy="237744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8FD387C5-B8B4-4ACC-BCCF-EB1FDFEEADB6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8220075" y="1733550"/>
            <a:ext cx="3529013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40" name="Bar 3">
            <a:extLst>
              <a:ext uri="{FF2B5EF4-FFF2-40B4-BE49-F238E27FC236}">
                <a16:creationId xmlns:a16="http://schemas.microsoft.com/office/drawing/2014/main" id="{A3B119D7-40DB-41B6-B2CD-855764002626}"/>
              </a:ext>
            </a:extLst>
          </p:cNvPr>
          <p:cNvSpPr/>
          <p:nvPr userDrawn="1"/>
        </p:nvSpPr>
        <p:spPr bwMode="hidden">
          <a:xfrm>
            <a:off x="8220323" y="3562350"/>
            <a:ext cx="352876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00C0FA4-BBAB-402C-BFB0-B771616CD5A6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220324" y="3840480"/>
            <a:ext cx="3528764" cy="237744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3" name="Footnotes">
            <a:extLst>
              <a:ext uri="{FF2B5EF4-FFF2-40B4-BE49-F238E27FC236}">
                <a16:creationId xmlns:a16="http://schemas.microsoft.com/office/drawing/2014/main" id="{7A3EC94A-8B92-479D-A515-EEA67947AF2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45" name="Slide Number Placeholder">
            <a:extLst>
              <a:ext uri="{FF2B5EF4-FFF2-40B4-BE49-F238E27FC236}">
                <a16:creationId xmlns:a16="http://schemas.microsoft.com/office/drawing/2014/main" id="{BA01A5F1-C803-42C4-8653-66726D1990BA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616C15E3-A678-4F28-82FF-0802ABC474FD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46227884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3C601C3-6DC1-489C-8310-59813E64310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45863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3C601C3-6DC1-489C-8310-59813E64310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8D7FEC9B-7B31-4C01-9A0C-5F61002446F1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7" name="Picture Placeholder 1">
            <a:extLst>
              <a:ext uri="{FF2B5EF4-FFF2-40B4-BE49-F238E27FC236}">
                <a16:creationId xmlns:a16="http://schemas.microsoft.com/office/drawing/2014/main" id="{370B3877-9D4C-4E2A-B3FC-81C2122C6D6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291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28" name="Bar 1">
            <a:extLst>
              <a:ext uri="{FF2B5EF4-FFF2-40B4-BE49-F238E27FC236}">
                <a16:creationId xmlns:a16="http://schemas.microsoft.com/office/drawing/2014/main" id="{38FDCF58-CB20-492E-8FCF-5DE1A704F7A4}"/>
              </a:ext>
            </a:extLst>
          </p:cNvPr>
          <p:cNvSpPr/>
          <p:nvPr userDrawn="1"/>
        </p:nvSpPr>
        <p:spPr bwMode="hidden">
          <a:xfrm>
            <a:off x="442913" y="3562350"/>
            <a:ext cx="197485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2BE509E6-D645-4FFE-8A65-BE696EE75EDB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42914" y="3836669"/>
            <a:ext cx="1974854" cy="2379346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3488F59C-9FE7-4A1C-B580-456D3DB85B3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2777045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1" name="Bar 2">
            <a:extLst>
              <a:ext uri="{FF2B5EF4-FFF2-40B4-BE49-F238E27FC236}">
                <a16:creationId xmlns:a16="http://schemas.microsoft.com/office/drawing/2014/main" id="{3C0EFAD3-D83B-41C9-A95D-A94F256674C7}"/>
              </a:ext>
            </a:extLst>
          </p:cNvPr>
          <p:cNvSpPr/>
          <p:nvPr userDrawn="1"/>
        </p:nvSpPr>
        <p:spPr bwMode="hidden">
          <a:xfrm>
            <a:off x="2777045" y="3562350"/>
            <a:ext cx="197485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2" name="Content Placeholder 2">
            <a:extLst>
              <a:ext uri="{FF2B5EF4-FFF2-40B4-BE49-F238E27FC236}">
                <a16:creationId xmlns:a16="http://schemas.microsoft.com/office/drawing/2014/main" id="{44CBB381-B316-4B43-A22E-B731263FD07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2777045" y="3838575"/>
            <a:ext cx="1975104" cy="2379346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704C58B0-CFBF-465E-8547-49071BA722E1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5111177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4" name="Bar 3">
            <a:extLst>
              <a:ext uri="{FF2B5EF4-FFF2-40B4-BE49-F238E27FC236}">
                <a16:creationId xmlns:a16="http://schemas.microsoft.com/office/drawing/2014/main" id="{05836A6A-2947-48D3-86DC-F256B7FBBEC9}"/>
              </a:ext>
            </a:extLst>
          </p:cNvPr>
          <p:cNvSpPr/>
          <p:nvPr userDrawn="1"/>
        </p:nvSpPr>
        <p:spPr bwMode="hidden">
          <a:xfrm>
            <a:off x="5111177" y="3562350"/>
            <a:ext cx="197485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5" name="Content Placeholder 3">
            <a:extLst>
              <a:ext uri="{FF2B5EF4-FFF2-40B4-BE49-F238E27FC236}">
                <a16:creationId xmlns:a16="http://schemas.microsoft.com/office/drawing/2014/main" id="{AA7CE8B4-2FCD-4D60-A148-83D9930A01D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5111177" y="3838575"/>
            <a:ext cx="1975104" cy="2379346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C71971D6-0F3D-490B-922E-492147F12C2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445309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37" name="Bar 4">
            <a:extLst>
              <a:ext uri="{FF2B5EF4-FFF2-40B4-BE49-F238E27FC236}">
                <a16:creationId xmlns:a16="http://schemas.microsoft.com/office/drawing/2014/main" id="{C3C3A688-2809-4607-AD0B-93E1B7A0B3F3}"/>
              </a:ext>
            </a:extLst>
          </p:cNvPr>
          <p:cNvSpPr/>
          <p:nvPr userDrawn="1"/>
        </p:nvSpPr>
        <p:spPr bwMode="hidden">
          <a:xfrm>
            <a:off x="7445309" y="3562350"/>
            <a:ext cx="197485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8" name="Content Placeholder 4">
            <a:extLst>
              <a:ext uri="{FF2B5EF4-FFF2-40B4-BE49-F238E27FC236}">
                <a16:creationId xmlns:a16="http://schemas.microsoft.com/office/drawing/2014/main" id="{8B350110-0389-47FB-9977-1127764263F1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7445309" y="3838575"/>
            <a:ext cx="1975104" cy="2379346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9" name="Picture Placeholder 5">
            <a:extLst>
              <a:ext uri="{FF2B5EF4-FFF2-40B4-BE49-F238E27FC236}">
                <a16:creationId xmlns:a16="http://schemas.microsoft.com/office/drawing/2014/main" id="{89F5C50C-7AB3-49DF-8567-1888ED31FBB4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9779443" y="1733550"/>
            <a:ext cx="1975104" cy="1828800"/>
          </a:xfrm>
          <a:solidFill>
            <a:srgbClr val="DEDEDE"/>
          </a:solidFill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picture</a:t>
            </a:r>
          </a:p>
        </p:txBody>
      </p:sp>
      <p:sp>
        <p:nvSpPr>
          <p:cNvPr id="47" name="Bar 5">
            <a:extLst>
              <a:ext uri="{FF2B5EF4-FFF2-40B4-BE49-F238E27FC236}">
                <a16:creationId xmlns:a16="http://schemas.microsoft.com/office/drawing/2014/main" id="{ED06749E-EC64-4656-8526-54F4608831F7}"/>
              </a:ext>
            </a:extLst>
          </p:cNvPr>
          <p:cNvSpPr/>
          <p:nvPr userDrawn="1"/>
        </p:nvSpPr>
        <p:spPr bwMode="hidden">
          <a:xfrm>
            <a:off x="9779443" y="3562350"/>
            <a:ext cx="1974855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48" name="Content Placeholder 5">
            <a:extLst>
              <a:ext uri="{FF2B5EF4-FFF2-40B4-BE49-F238E27FC236}">
                <a16:creationId xmlns:a16="http://schemas.microsoft.com/office/drawing/2014/main" id="{4D70AECD-D452-4562-851B-8D91FE461FAF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9779443" y="3838575"/>
            <a:ext cx="1975104" cy="2379346"/>
          </a:xfrm>
        </p:spPr>
        <p:txBody>
          <a:bodyPr>
            <a:normAutofit/>
          </a:bodyPr>
          <a:lstStyle>
            <a:lvl1pPr rtl="0">
              <a:spcBef>
                <a:spcPts val="0"/>
              </a:spcBef>
              <a:defRPr sz="1400"/>
            </a:lvl1pPr>
            <a:lvl2pPr rtl="0">
              <a:defRPr sz="1400"/>
            </a:lvl2pPr>
            <a:lvl3pPr rtl="0">
              <a:defRPr sz="1400"/>
            </a:lvl3pPr>
            <a:lvl4pPr rtl="0">
              <a:defRPr sz="1400"/>
            </a:lvl4pPr>
            <a:lvl5pPr rtl="0"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0" name="Footnotes">
            <a:extLst>
              <a:ext uri="{FF2B5EF4-FFF2-40B4-BE49-F238E27FC236}">
                <a16:creationId xmlns:a16="http://schemas.microsoft.com/office/drawing/2014/main" id="{924132E7-EC15-447E-81C7-12480B5ACBC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52" name="Slide Number Placeholder">
            <a:extLst>
              <a:ext uri="{FF2B5EF4-FFF2-40B4-BE49-F238E27FC236}">
                <a16:creationId xmlns:a16="http://schemas.microsoft.com/office/drawing/2014/main" id="{DE977969-C0EE-43EE-8252-A8AAFA86880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53" name="Title 2">
            <a:extLst>
              <a:ext uri="{FF2B5EF4-FFF2-40B4-BE49-F238E27FC236}">
                <a16:creationId xmlns:a16="http://schemas.microsoft.com/office/drawing/2014/main" id="{3B6CFD3D-8AA2-4F37-ACEB-AD04988DC6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ABE215E4-16E4-43EC-87EB-269195EF6E6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41217080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BEF9B445-ED34-4C7E-A50F-4BE410CDB4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531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BEF9B445-ED34-4C7E-A50F-4BE410CDB4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EFC78CD7-E393-46A1-B4EC-0138BA7819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8CD4BC79-97E4-4125-9363-4EAF7016EF33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8" name="Box">
            <a:extLst>
              <a:ext uri="{FF2B5EF4-FFF2-40B4-BE49-F238E27FC236}">
                <a16:creationId xmlns:a16="http://schemas.microsoft.com/office/drawing/2014/main" id="{68AD8945-1801-4BE9-ADA0-05193390497E}"/>
              </a:ext>
            </a:extLst>
          </p:cNvPr>
          <p:cNvSpPr/>
          <p:nvPr userDrawn="1"/>
        </p:nvSpPr>
        <p:spPr bwMode="hidden">
          <a:xfrm>
            <a:off x="0" y="1742698"/>
            <a:ext cx="3971925" cy="448310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en-ZA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46DB8C33-15CE-4C80-BB96-4A44D280C9C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2913" y="1917290"/>
            <a:ext cx="3328985" cy="4113716"/>
          </a:xfrm>
        </p:spPr>
        <p:txBody>
          <a:bodyPr anchor="ctr" anchorCtr="0">
            <a:noAutofit/>
          </a:bodyPr>
          <a:lstStyle>
            <a:lvl1pPr marL="18288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1pPr>
            <a:lvl2pPr marL="36576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2pPr>
            <a:lvl3pPr marL="54864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3pPr>
            <a:lvl4pPr marL="731520" indent="-182880" rtl="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4pPr>
            <a:lvl5pPr marL="914400" indent="-182880" rtl="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600" b="0">
                <a:solidFill>
                  <a:schemeClr val="bg1"/>
                </a:solidFill>
              </a:defRPr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6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2" name="Chart Placeholder 1">
            <a:extLst>
              <a:ext uri="{FF2B5EF4-FFF2-40B4-BE49-F238E27FC236}">
                <a16:creationId xmlns:a16="http://schemas.microsoft.com/office/drawing/2014/main" id="{A91DCA48-D620-4112-A4CC-F27A227B1865}"/>
              </a:ext>
            </a:extLst>
          </p:cNvPr>
          <p:cNvSpPr>
            <a:spLocks noGrp="1"/>
          </p:cNvSpPr>
          <p:nvPr>
            <p:ph type="chart" sz="quarter" idx="13" hasCustomPrompt="1"/>
          </p:nvPr>
        </p:nvSpPr>
        <p:spPr>
          <a:xfrm>
            <a:off x="4327525" y="1733550"/>
            <a:ext cx="7421563" cy="4483100"/>
          </a:xfrm>
        </p:spPr>
        <p:txBody>
          <a:bodyPr anchor="ctr" anchorCtr="0"/>
          <a:lstStyle>
            <a:lvl1pPr marL="0" indent="0" algn="ctr" rtl="0"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chart</a:t>
            </a:r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id="{122F3D9D-5A9E-4A56-A975-1689B329498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6" name="Slide Number Placeholder">
            <a:extLst>
              <a:ext uri="{FF2B5EF4-FFF2-40B4-BE49-F238E27FC236}">
                <a16:creationId xmlns:a16="http://schemas.microsoft.com/office/drawing/2014/main" id="{BB93965D-099A-4511-A18D-02C46913808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C853F1AE-E1CD-44BB-AB42-4C594C658A4A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1742402832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92C3A30-01A4-48E7-87BD-401E0688BD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37205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92C3A30-01A4-48E7-87BD-401E0688BD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30" name="Title">
            <a:extLst>
              <a:ext uri="{FF2B5EF4-FFF2-40B4-BE49-F238E27FC236}">
                <a16:creationId xmlns:a16="http://schemas.microsoft.com/office/drawing/2014/main" id="{F5B2D154-2370-481A-B0AA-457AF5FBC6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1" name="Subtitle">
            <a:extLst>
              <a:ext uri="{FF2B5EF4-FFF2-40B4-BE49-F238E27FC236}">
                <a16:creationId xmlns:a16="http://schemas.microsoft.com/office/drawing/2014/main" id="{11A1DE4C-F71A-4CAE-B024-F5A2566A5C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33" name="Burgundy">
            <a:extLst>
              <a:ext uri="{FF2B5EF4-FFF2-40B4-BE49-F238E27FC236}">
                <a16:creationId xmlns:a16="http://schemas.microsoft.com/office/drawing/2014/main" id="{0031720A-D9A0-442F-B39B-FDA12B5EC947}"/>
              </a:ext>
            </a:extLst>
          </p:cNvPr>
          <p:cNvSpPr/>
          <p:nvPr userDrawn="1"/>
        </p:nvSpPr>
        <p:spPr bwMode="gray">
          <a:xfrm>
            <a:off x="442912" y="1733550"/>
            <a:ext cx="5653088" cy="224028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4" name="Text Placeholder 1">
            <a:extLst>
              <a:ext uri="{FF2B5EF4-FFF2-40B4-BE49-F238E27FC236}">
                <a16:creationId xmlns:a16="http://schemas.microsoft.com/office/drawing/2014/main" id="{48A832DB-400D-4211-ABEF-F7B6F91442C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04672" y="2011679"/>
            <a:ext cx="1627632" cy="594360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AFDAC9D8-BF0F-41AD-94D7-9AF332688C7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804672" y="2739508"/>
            <a:ext cx="1627632" cy="1048719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D5402FF-B3B9-4CED-8375-42052C542F1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565403" y="2739509"/>
            <a:ext cx="3351210" cy="104872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7" name="Rose">
            <a:extLst>
              <a:ext uri="{FF2B5EF4-FFF2-40B4-BE49-F238E27FC236}">
                <a16:creationId xmlns:a16="http://schemas.microsoft.com/office/drawing/2014/main" id="{C96FA1DE-F660-4902-A478-BC7C1D335C81}"/>
              </a:ext>
            </a:extLst>
          </p:cNvPr>
          <p:cNvSpPr/>
          <p:nvPr userDrawn="1"/>
        </p:nvSpPr>
        <p:spPr bwMode="gray">
          <a:xfrm>
            <a:off x="6096000" y="1733550"/>
            <a:ext cx="5653087" cy="224028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51" name="Text Placeholder 4">
            <a:extLst>
              <a:ext uri="{FF2B5EF4-FFF2-40B4-BE49-F238E27FC236}">
                <a16:creationId xmlns:a16="http://schemas.microsoft.com/office/drawing/2014/main" id="{560F74C7-5F34-453C-B89C-19F426140DE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7759" y="2011679"/>
            <a:ext cx="1627632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52" name="Text Placeholder 5">
            <a:extLst>
              <a:ext uri="{FF2B5EF4-FFF2-40B4-BE49-F238E27FC236}">
                <a16:creationId xmlns:a16="http://schemas.microsoft.com/office/drawing/2014/main" id="{50B63667-FE03-4D29-AB64-195998FC9DE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7759" y="2739508"/>
            <a:ext cx="1627632" cy="1048719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DC4F1A0-03B9-4C5E-8E54-4381496C913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218489" y="2739509"/>
            <a:ext cx="3351211" cy="104872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4" name="Black">
            <a:extLst>
              <a:ext uri="{FF2B5EF4-FFF2-40B4-BE49-F238E27FC236}">
                <a16:creationId xmlns:a16="http://schemas.microsoft.com/office/drawing/2014/main" id="{BB78BF81-8DA3-453F-AA81-35BB68DCC132}"/>
              </a:ext>
            </a:extLst>
          </p:cNvPr>
          <p:cNvSpPr/>
          <p:nvPr userDrawn="1"/>
        </p:nvSpPr>
        <p:spPr bwMode="gray">
          <a:xfrm>
            <a:off x="442912" y="3973830"/>
            <a:ext cx="5653088" cy="224282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55" name="Text Placeholder 7">
            <a:extLst>
              <a:ext uri="{FF2B5EF4-FFF2-40B4-BE49-F238E27FC236}">
                <a16:creationId xmlns:a16="http://schemas.microsoft.com/office/drawing/2014/main" id="{9143CAAF-AE6C-4BF2-BCBC-429E77AD942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04672" y="4251959"/>
            <a:ext cx="1627632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56" name="Text Placeholder 8">
            <a:extLst>
              <a:ext uri="{FF2B5EF4-FFF2-40B4-BE49-F238E27FC236}">
                <a16:creationId xmlns:a16="http://schemas.microsoft.com/office/drawing/2014/main" id="{B12AE691-2586-4305-A357-7671A880A17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804672" y="4979788"/>
            <a:ext cx="1627632" cy="1048719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57" name="Text Placeholder 9">
            <a:extLst>
              <a:ext uri="{FF2B5EF4-FFF2-40B4-BE49-F238E27FC236}">
                <a16:creationId xmlns:a16="http://schemas.microsoft.com/office/drawing/2014/main" id="{CD8CBFD9-30DD-4F1B-88A2-5A1DFF75889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565403" y="4979789"/>
            <a:ext cx="3351209" cy="104872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8" name="Grey">
            <a:extLst>
              <a:ext uri="{FF2B5EF4-FFF2-40B4-BE49-F238E27FC236}">
                <a16:creationId xmlns:a16="http://schemas.microsoft.com/office/drawing/2014/main" id="{C4A8B99B-4545-49C0-BA40-1F71EA9850FA}"/>
              </a:ext>
            </a:extLst>
          </p:cNvPr>
          <p:cNvSpPr/>
          <p:nvPr userDrawn="1"/>
        </p:nvSpPr>
        <p:spPr bwMode="gray">
          <a:xfrm>
            <a:off x="6096000" y="3973830"/>
            <a:ext cx="5653086" cy="2242820"/>
          </a:xfrm>
          <a:prstGeom prst="rect">
            <a:avLst/>
          </a:prstGeom>
          <a:solidFill>
            <a:srgbClr val="12A059"/>
          </a:solidFill>
          <a:ln>
            <a:solidFill>
              <a:srgbClr val="12A059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59" name="Text Placeholder 10">
            <a:extLst>
              <a:ext uri="{FF2B5EF4-FFF2-40B4-BE49-F238E27FC236}">
                <a16:creationId xmlns:a16="http://schemas.microsoft.com/office/drawing/2014/main" id="{C156CCCB-0329-4DB0-A8D8-42E40A83AC4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7759" y="4251959"/>
            <a:ext cx="1627631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60" name="Text Placeholder 11">
            <a:extLst>
              <a:ext uri="{FF2B5EF4-FFF2-40B4-BE49-F238E27FC236}">
                <a16:creationId xmlns:a16="http://schemas.microsoft.com/office/drawing/2014/main" id="{F2DCF84B-8773-433C-97C7-8219734F370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7759" y="4979788"/>
            <a:ext cx="1627631" cy="1048719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61" name="Text Placeholder 12">
            <a:extLst>
              <a:ext uri="{FF2B5EF4-FFF2-40B4-BE49-F238E27FC236}">
                <a16:creationId xmlns:a16="http://schemas.microsoft.com/office/drawing/2014/main" id="{6F57D613-8BC5-4EAD-B2C0-3B9A63A4A49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218489" y="4979789"/>
            <a:ext cx="3351212" cy="104872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1pPr>
            <a:lvl2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2pPr>
            <a:lvl3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3pPr>
            <a:lvl4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4pPr>
            <a:lvl5pPr rtl="0">
              <a:spcAft>
                <a:spcPts val="300"/>
              </a:spcAft>
              <a:defRPr sz="1200">
                <a:solidFill>
                  <a:schemeClr val="bg1"/>
                </a:solidFill>
              </a:defRPr>
            </a:lvl5pPr>
            <a:lvl6pPr>
              <a:spcAft>
                <a:spcPts val="300"/>
              </a:spcAft>
              <a:defRPr sz="1200">
                <a:solidFill>
                  <a:schemeClr val="bg1"/>
                </a:solidFill>
              </a:defRPr>
            </a:lvl6pPr>
            <a:lvl7pPr>
              <a:spcAft>
                <a:spcPts val="300"/>
              </a:spcAft>
              <a:defRPr sz="1200">
                <a:solidFill>
                  <a:schemeClr val="bg1"/>
                </a:solidFill>
              </a:defRPr>
            </a:lvl7pPr>
            <a:lvl8pPr>
              <a:spcAft>
                <a:spcPts val="300"/>
              </a:spcAft>
              <a:defRPr sz="1200">
                <a:solidFill>
                  <a:schemeClr val="bg1"/>
                </a:solidFill>
              </a:defRPr>
            </a:lvl8pPr>
            <a:lvl9pPr>
              <a:spcAft>
                <a:spcPts val="300"/>
              </a:spcAft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63" name="Footnotes">
            <a:extLst>
              <a:ext uri="{FF2B5EF4-FFF2-40B4-BE49-F238E27FC236}">
                <a16:creationId xmlns:a16="http://schemas.microsoft.com/office/drawing/2014/main" id="{2F835EEC-E9C9-4FF3-96A0-E6CA4B3CC2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65" name="Slide Number Placeholder">
            <a:extLst>
              <a:ext uri="{FF2B5EF4-FFF2-40B4-BE49-F238E27FC236}">
                <a16:creationId xmlns:a16="http://schemas.microsoft.com/office/drawing/2014/main" id="{63DA4632-4942-4DD5-A127-7073D31A5A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C72D0949-98EA-490F-8648-B1556508975B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372824006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C16599D-18FA-47B8-A48A-0884FFC55B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562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C16599D-18FA-47B8-A48A-0884FFC55B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21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9" name="Title">
            <a:extLst>
              <a:ext uri="{FF2B5EF4-FFF2-40B4-BE49-F238E27FC236}">
                <a16:creationId xmlns:a16="http://schemas.microsoft.com/office/drawing/2014/main" id="{A3D74EFF-FF7B-410B-AD83-53FE1C6BBF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30" name="Subtitle">
            <a:extLst>
              <a:ext uri="{FF2B5EF4-FFF2-40B4-BE49-F238E27FC236}">
                <a16:creationId xmlns:a16="http://schemas.microsoft.com/office/drawing/2014/main" id="{572CB100-EC1A-4E66-8C24-8C2464189244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32" name="Burgundy">
            <a:extLst>
              <a:ext uri="{FF2B5EF4-FFF2-40B4-BE49-F238E27FC236}">
                <a16:creationId xmlns:a16="http://schemas.microsoft.com/office/drawing/2014/main" id="{6229BF2B-D0A5-40CF-B89C-3F4A7587E133}"/>
              </a:ext>
            </a:extLst>
          </p:cNvPr>
          <p:cNvSpPr/>
          <p:nvPr userDrawn="1"/>
        </p:nvSpPr>
        <p:spPr bwMode="gray">
          <a:xfrm>
            <a:off x="442912" y="1733550"/>
            <a:ext cx="2058414" cy="2059736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33" name="Text Placeholder 1">
            <a:extLst>
              <a:ext uri="{FF2B5EF4-FFF2-40B4-BE49-F238E27FC236}">
                <a16:creationId xmlns:a16="http://schemas.microsoft.com/office/drawing/2014/main" id="{2AA6B46A-92C1-49BD-8C82-5E4C271DF93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1792" y="2011679"/>
            <a:ext cx="1691640" cy="594360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8C3BC95F-44A6-4CFB-A054-CA74BDDB316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2300" y="2743198"/>
            <a:ext cx="1691132" cy="868680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A89BE4DE-C236-4029-835D-20A03AC477C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2725355" y="1733549"/>
            <a:ext cx="3191257" cy="2053537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7" name="Rose">
            <a:extLst>
              <a:ext uri="{FF2B5EF4-FFF2-40B4-BE49-F238E27FC236}">
                <a16:creationId xmlns:a16="http://schemas.microsoft.com/office/drawing/2014/main" id="{110512FB-8A72-499A-B5C9-2886F5EFBDD9}"/>
              </a:ext>
            </a:extLst>
          </p:cNvPr>
          <p:cNvSpPr/>
          <p:nvPr userDrawn="1"/>
        </p:nvSpPr>
        <p:spPr bwMode="gray">
          <a:xfrm>
            <a:off x="6275389" y="1733550"/>
            <a:ext cx="2057400" cy="205740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42" name="Text Placeholder 4">
            <a:extLst>
              <a:ext uri="{FF2B5EF4-FFF2-40B4-BE49-F238E27FC236}">
                <a16:creationId xmlns:a16="http://schemas.microsoft.com/office/drawing/2014/main" id="{315288D2-6E3F-4A35-990C-0999E2A3236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455664" y="2011679"/>
            <a:ext cx="1691640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43" name="Text Placeholder 5">
            <a:extLst>
              <a:ext uri="{FF2B5EF4-FFF2-40B4-BE49-F238E27FC236}">
                <a16:creationId xmlns:a16="http://schemas.microsoft.com/office/drawing/2014/main" id="{2A80134F-E3FA-4E07-9929-0CB6E31BC41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455664" y="2743199"/>
            <a:ext cx="1691640" cy="868680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CFF2FDBE-8805-4229-82C0-E29CB7A8DA8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8557830" y="1733550"/>
            <a:ext cx="3191256" cy="205740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5" name="Black">
            <a:extLst>
              <a:ext uri="{FF2B5EF4-FFF2-40B4-BE49-F238E27FC236}">
                <a16:creationId xmlns:a16="http://schemas.microsoft.com/office/drawing/2014/main" id="{FDFF9054-2CEA-4103-8654-460168B2B7B5}"/>
              </a:ext>
            </a:extLst>
          </p:cNvPr>
          <p:cNvSpPr/>
          <p:nvPr userDrawn="1"/>
        </p:nvSpPr>
        <p:spPr bwMode="gray">
          <a:xfrm>
            <a:off x="442912" y="4159044"/>
            <a:ext cx="2058414" cy="2057605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22442A2E-D4B1-4D99-8534-3757357714F5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22300" y="4434840"/>
            <a:ext cx="1691132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47" name="Text Placeholder 8">
            <a:extLst>
              <a:ext uri="{FF2B5EF4-FFF2-40B4-BE49-F238E27FC236}">
                <a16:creationId xmlns:a16="http://schemas.microsoft.com/office/drawing/2014/main" id="{00CA332C-8208-4BE8-9F59-62F37671FCC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22299" y="5166360"/>
            <a:ext cx="1691131" cy="877824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8AEDCE0A-0E60-4CB3-8289-495A7D79935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725357" y="4158181"/>
            <a:ext cx="3191256" cy="2057400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49" name="Grey">
            <a:extLst>
              <a:ext uri="{FF2B5EF4-FFF2-40B4-BE49-F238E27FC236}">
                <a16:creationId xmlns:a16="http://schemas.microsoft.com/office/drawing/2014/main" id="{F90D5AA0-0AF5-47FC-82E5-2E2DF3FCA1AA}"/>
              </a:ext>
            </a:extLst>
          </p:cNvPr>
          <p:cNvSpPr/>
          <p:nvPr userDrawn="1"/>
        </p:nvSpPr>
        <p:spPr bwMode="gray">
          <a:xfrm>
            <a:off x="6275389" y="4159249"/>
            <a:ext cx="2057400" cy="205740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50" name="Text Placeholder 10">
            <a:extLst>
              <a:ext uri="{FF2B5EF4-FFF2-40B4-BE49-F238E27FC236}">
                <a16:creationId xmlns:a16="http://schemas.microsoft.com/office/drawing/2014/main" id="{FA7BE08E-6346-41D7-8F6A-DD0100B7D00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455664" y="4434840"/>
            <a:ext cx="1691640" cy="594018"/>
          </a:xfrm>
        </p:spPr>
        <p:txBody>
          <a:bodyPr>
            <a:noAutofit/>
          </a:bodyPr>
          <a:lstStyle>
            <a:lvl1pPr marL="0" indent="0" rtl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40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0</a:t>
            </a:r>
          </a:p>
        </p:txBody>
      </p:sp>
      <p:sp>
        <p:nvSpPr>
          <p:cNvPr id="51" name="Text Placeholder 11">
            <a:extLst>
              <a:ext uri="{FF2B5EF4-FFF2-40B4-BE49-F238E27FC236}">
                <a16:creationId xmlns:a16="http://schemas.microsoft.com/office/drawing/2014/main" id="{507D46D2-BC62-4C26-BFA4-E7CD7A386B5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455664" y="5166361"/>
            <a:ext cx="1691640" cy="868680"/>
          </a:xfrm>
        </p:spPr>
        <p:txBody>
          <a:bodyPr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600"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[Category Name]</a:t>
            </a:r>
          </a:p>
        </p:txBody>
      </p:sp>
      <p:sp>
        <p:nvSpPr>
          <p:cNvPr id="52" name="Text Placeholder 12">
            <a:extLst>
              <a:ext uri="{FF2B5EF4-FFF2-40B4-BE49-F238E27FC236}">
                <a16:creationId xmlns:a16="http://schemas.microsoft.com/office/drawing/2014/main" id="{86E717D4-4105-4F19-AEAC-1D319BCFE8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557830" y="4158180"/>
            <a:ext cx="3191256" cy="2058467"/>
          </a:xfrm>
        </p:spPr>
        <p:txBody>
          <a:bodyPr>
            <a:noAutofit/>
          </a:bodyPr>
          <a:lstStyle>
            <a:lvl1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1pPr>
            <a:lvl2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2pPr>
            <a:lvl3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3pPr>
            <a:lvl4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4pPr>
            <a:lvl5pPr rtl="0">
              <a:spcAft>
                <a:spcPts val="300"/>
              </a:spcAft>
              <a:defRPr sz="1400">
                <a:solidFill>
                  <a:schemeClr val="tx1"/>
                </a:solidFill>
              </a:defRPr>
            </a:lvl5pPr>
            <a:lvl6pPr>
              <a:spcAft>
                <a:spcPts val="300"/>
              </a:spcAft>
              <a:defRPr sz="1400">
                <a:solidFill>
                  <a:schemeClr val="tx1"/>
                </a:solidFill>
              </a:defRPr>
            </a:lvl6pPr>
            <a:lvl7pPr>
              <a:spcAft>
                <a:spcPts val="300"/>
              </a:spcAft>
              <a:defRPr sz="1400">
                <a:solidFill>
                  <a:schemeClr val="tx1"/>
                </a:solidFill>
              </a:defRPr>
            </a:lvl7pPr>
            <a:lvl8pPr>
              <a:spcAft>
                <a:spcPts val="300"/>
              </a:spcAft>
              <a:defRPr sz="1400">
                <a:solidFill>
                  <a:schemeClr val="tx1"/>
                </a:solidFill>
              </a:defRPr>
            </a:lvl8pPr>
            <a:lvl9pPr>
              <a:spcAft>
                <a:spcPts val="300"/>
              </a:spcAft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54" name="Footnotes">
            <a:extLst>
              <a:ext uri="{FF2B5EF4-FFF2-40B4-BE49-F238E27FC236}">
                <a16:creationId xmlns:a16="http://schemas.microsoft.com/office/drawing/2014/main" id="{4D6CC890-D77A-4F07-887C-72ECF79E644D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56" name="Slide Number Placeholder">
            <a:extLst>
              <a:ext uri="{FF2B5EF4-FFF2-40B4-BE49-F238E27FC236}">
                <a16:creationId xmlns:a16="http://schemas.microsoft.com/office/drawing/2014/main" id="{F81032DE-BCD4-42AB-8493-DAA3C76460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A76967E6-EEA2-4490-B38C-3F9A2991F00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415207306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E5CC1D5-FF7B-41C6-B86A-94638B248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43531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E5CC1D5-FF7B-41C6-B86A-94638B248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28" name="Subtitle">
            <a:extLst>
              <a:ext uri="{FF2B5EF4-FFF2-40B4-BE49-F238E27FC236}">
                <a16:creationId xmlns:a16="http://schemas.microsoft.com/office/drawing/2014/main" id="{F26B211B-B8AD-421F-B9F1-8AA9C9343AA2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9" name="Text Placeholder 1">
            <a:extLst>
              <a:ext uri="{FF2B5EF4-FFF2-40B4-BE49-F238E27FC236}">
                <a16:creationId xmlns:a16="http://schemas.microsoft.com/office/drawing/2014/main" id="{B406149A-A055-4AEF-8F90-E5FD62D2A788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442912" y="1733550"/>
            <a:ext cx="11306173" cy="505385"/>
          </a:xfrm>
        </p:spPr>
        <p:txBody>
          <a:bodyPr/>
          <a:lstStyle>
            <a:lvl1pPr marL="0" indent="0" rtl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en-ZA"/>
              <a:t>Click to edit Master text styles</a:t>
            </a:r>
          </a:p>
        </p:txBody>
      </p:sp>
      <p:sp>
        <p:nvSpPr>
          <p:cNvPr id="31" name="Picture Placeholder 1">
            <a:extLst>
              <a:ext uri="{FF2B5EF4-FFF2-40B4-BE49-F238E27FC236}">
                <a16:creationId xmlns:a16="http://schemas.microsoft.com/office/drawing/2014/main" id="{25AEDDF7-8196-4660-AA17-DB5D4CDDEB0C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42913" y="2386584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32" name="Picture Placeholder 2">
            <a:extLst>
              <a:ext uri="{FF2B5EF4-FFF2-40B4-BE49-F238E27FC236}">
                <a16:creationId xmlns:a16="http://schemas.microsoft.com/office/drawing/2014/main" id="{C4181777-ADC0-468B-A839-09E0EBA3D02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775681" y="2386584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33" name="Picture Placeholder 3">
            <a:extLst>
              <a:ext uri="{FF2B5EF4-FFF2-40B4-BE49-F238E27FC236}">
                <a16:creationId xmlns:a16="http://schemas.microsoft.com/office/drawing/2014/main" id="{C6CA1167-F834-473A-8ACB-0AD6E471D052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5108449" y="2386584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D4595A66-6E7F-495D-93E3-6D7E891E18AD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7441217" y="2386584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36" name="Picture Placeholder 5">
            <a:extLst>
              <a:ext uri="{FF2B5EF4-FFF2-40B4-BE49-F238E27FC236}">
                <a16:creationId xmlns:a16="http://schemas.microsoft.com/office/drawing/2014/main" id="{D2151552-4523-48A8-923D-75A69FE4FD23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9773984" y="2386584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1" name="Picture Placeholder 6">
            <a:extLst>
              <a:ext uri="{FF2B5EF4-FFF2-40B4-BE49-F238E27FC236}">
                <a16:creationId xmlns:a16="http://schemas.microsoft.com/office/drawing/2014/main" id="{2FFF1882-6B4E-4E7B-8B15-9B47FBE4BE35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42913" y="3721608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9A840D6B-CFC2-4BFB-B0EB-D4EAC4820B19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775681" y="3721608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3" name="Picture Placeholder 8">
            <a:extLst>
              <a:ext uri="{FF2B5EF4-FFF2-40B4-BE49-F238E27FC236}">
                <a16:creationId xmlns:a16="http://schemas.microsoft.com/office/drawing/2014/main" id="{D49D9BBB-8DDC-4E1F-92EF-C6DD89A84352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5108449" y="3721608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4" name="Picture Placeholder 9">
            <a:extLst>
              <a:ext uri="{FF2B5EF4-FFF2-40B4-BE49-F238E27FC236}">
                <a16:creationId xmlns:a16="http://schemas.microsoft.com/office/drawing/2014/main" id="{E8E0BE01-E505-4475-BD56-D3C236DC890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7441217" y="3721608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5" name="Picture Placeholder 10">
            <a:extLst>
              <a:ext uri="{FF2B5EF4-FFF2-40B4-BE49-F238E27FC236}">
                <a16:creationId xmlns:a16="http://schemas.microsoft.com/office/drawing/2014/main" id="{A76A2FF1-3EE3-41BB-8CCE-869A646A8B19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9773984" y="3721608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6" name="Picture Placeholder 11">
            <a:extLst>
              <a:ext uri="{FF2B5EF4-FFF2-40B4-BE49-F238E27FC236}">
                <a16:creationId xmlns:a16="http://schemas.microsoft.com/office/drawing/2014/main" id="{BED9B6C5-A70B-49B8-B498-FBEB9494539A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42913" y="5073650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7" name="Picture Placeholder 12">
            <a:extLst>
              <a:ext uri="{FF2B5EF4-FFF2-40B4-BE49-F238E27FC236}">
                <a16:creationId xmlns:a16="http://schemas.microsoft.com/office/drawing/2014/main" id="{C11C680E-92F3-47F0-A44A-3F23B70F8A83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775681" y="5073650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8" name="Picture Placeholder 13">
            <a:extLst>
              <a:ext uri="{FF2B5EF4-FFF2-40B4-BE49-F238E27FC236}">
                <a16:creationId xmlns:a16="http://schemas.microsoft.com/office/drawing/2014/main" id="{85FCF722-08FE-4E2D-84DA-B266DA25127E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5108449" y="5073650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49" name="Picture Placeholder 14">
            <a:extLst>
              <a:ext uri="{FF2B5EF4-FFF2-40B4-BE49-F238E27FC236}">
                <a16:creationId xmlns:a16="http://schemas.microsoft.com/office/drawing/2014/main" id="{ED112498-443A-425A-812F-37BC37F00706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7441217" y="5073650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50" name="Picture Placeholder 15">
            <a:extLst>
              <a:ext uri="{FF2B5EF4-FFF2-40B4-BE49-F238E27FC236}">
                <a16:creationId xmlns:a16="http://schemas.microsoft.com/office/drawing/2014/main" id="{4A581588-5A64-4BEC-95FE-ADB89AEC0372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9773984" y="5073650"/>
            <a:ext cx="1975104" cy="1143000"/>
          </a:xfrm>
          <a:noFill/>
        </p:spPr>
        <p:txBody>
          <a:bodyPr anchor="ctr" anchorCtr="0"/>
          <a:lstStyle>
            <a:lvl1pPr marL="0" indent="0" algn="ctr" rtl="0">
              <a:spcBef>
                <a:spcPts val="0"/>
              </a:spcBef>
              <a:buFontTx/>
              <a:buNone/>
              <a:defRPr sz="1200" b="0">
                <a:solidFill>
                  <a:schemeClr val="tx1"/>
                </a:solidFill>
              </a:defRPr>
            </a:lvl1pPr>
          </a:lstStyle>
          <a:p>
            <a:r>
              <a:rPr lang="en-ZA"/>
              <a:t>Click icon to add logo</a:t>
            </a:r>
          </a:p>
        </p:txBody>
      </p:sp>
      <p:sp>
        <p:nvSpPr>
          <p:cNvPr id="52" name="Footnotes">
            <a:extLst>
              <a:ext uri="{FF2B5EF4-FFF2-40B4-BE49-F238E27FC236}">
                <a16:creationId xmlns:a16="http://schemas.microsoft.com/office/drawing/2014/main" id="{FDFFC24D-666C-4CBB-8126-221EBE1363B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54" name="Slide Number Placeholder">
            <a:extLst>
              <a:ext uri="{FF2B5EF4-FFF2-40B4-BE49-F238E27FC236}">
                <a16:creationId xmlns:a16="http://schemas.microsoft.com/office/drawing/2014/main" id="{3660A9AA-CF74-495D-AE9C-3F2C824270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55" name="Title 1">
            <a:extLst>
              <a:ext uri="{FF2B5EF4-FFF2-40B4-BE49-F238E27FC236}">
                <a16:creationId xmlns:a16="http://schemas.microsoft.com/office/drawing/2014/main" id="{A268D81A-3D60-403A-A361-48313072A5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D832F835-61B0-404A-9AE2-B04D65D6996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4181195648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F7098E-9585-476E-A458-044A9671B7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713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F7098E-9585-476E-A458-044A9671B7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6" name="Title">
            <a:extLst>
              <a:ext uri="{FF2B5EF4-FFF2-40B4-BE49-F238E27FC236}">
                <a16:creationId xmlns:a16="http://schemas.microsoft.com/office/drawing/2014/main" id="{A1E8EF63-4F25-441F-BCE9-708B2C9458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7" name="Subtitle">
            <a:extLst>
              <a:ext uri="{FF2B5EF4-FFF2-40B4-BE49-F238E27FC236}">
                <a16:creationId xmlns:a16="http://schemas.microsoft.com/office/drawing/2014/main" id="{58422387-42AA-419F-84C6-80C43DF78CEE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BD0DADE5-B706-4EF7-8418-64A7C2AADF56}"/>
              </a:ext>
            </a:extLst>
          </p:cNvPr>
          <p:cNvSpPr/>
          <p:nvPr userDrawn="1"/>
        </p:nvSpPr>
        <p:spPr bwMode="auto">
          <a:xfrm>
            <a:off x="442912" y="2971800"/>
            <a:ext cx="5473701" cy="457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F3225C34-4307-4BE4-AB0F-B5E5CF3ECB61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38912" y="3154680"/>
            <a:ext cx="5477256" cy="3063240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24" name="Bar">
            <a:extLst>
              <a:ext uri="{FF2B5EF4-FFF2-40B4-BE49-F238E27FC236}">
                <a16:creationId xmlns:a16="http://schemas.microsoft.com/office/drawing/2014/main" id="{976217AA-465C-465D-9E02-690BE8A7DA22}"/>
              </a:ext>
            </a:extLst>
          </p:cNvPr>
          <p:cNvSpPr/>
          <p:nvPr userDrawn="1"/>
        </p:nvSpPr>
        <p:spPr bwMode="auto">
          <a:xfrm>
            <a:off x="6276339" y="2971800"/>
            <a:ext cx="5473701" cy="4572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7658B0B9-D020-42AC-8CBA-DE9329126D39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2784" y="3154677"/>
            <a:ext cx="5477256" cy="3063243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  <a:lvl6pPr rtl="0">
              <a:defRPr/>
            </a:lvl6pPr>
            <a:lvl7pPr rtl="0">
              <a:defRPr/>
            </a:lvl7pPr>
            <a:lvl8pPr rtl="0">
              <a:defRPr/>
            </a:lvl8pPr>
            <a:lvl9pPr rtl="0"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  <a:p>
            <a:pPr lvl="5"/>
            <a:r>
              <a:rPr lang="en-ZA"/>
              <a:t>Sixth level</a:t>
            </a:r>
          </a:p>
          <a:p>
            <a:pPr lvl="6"/>
            <a:r>
              <a:rPr lang="en-ZA"/>
              <a:t>Seventh level</a:t>
            </a:r>
          </a:p>
          <a:p>
            <a:pPr lvl="7"/>
            <a:r>
              <a:rPr lang="en-ZA"/>
              <a:t>Eighth level</a:t>
            </a:r>
          </a:p>
          <a:p>
            <a:pPr lvl="8"/>
            <a:r>
              <a:rPr lang="en-ZA"/>
              <a:t>Ninth level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id="{CEE8C7B1-F721-4981-9691-AA59AB12708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5" name="Slide Number Placeholder">
            <a:extLst>
              <a:ext uri="{FF2B5EF4-FFF2-40B4-BE49-F238E27FC236}">
                <a16:creationId xmlns:a16="http://schemas.microsoft.com/office/drawing/2014/main" id="{A3514DCF-B625-4299-8D32-24900E3AD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37E0829-8157-4849-81E5-80F7347A8674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9422223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5D9FB025-0C84-4E92-94D9-DEBEEAC45F5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01182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5D9FB025-0C84-4E92-94D9-DEBEEAC45F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378977F-AA0D-4D6D-A585-3450C3447DF2}"/>
              </a:ext>
            </a:extLst>
          </p:cNvPr>
          <p:cNvSpPr/>
          <p:nvPr userDrawn="1"/>
        </p:nvSpPr>
        <p:spPr>
          <a:xfrm>
            <a:off x="6271832" y="1733550"/>
            <a:ext cx="5477256" cy="448310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433E8B4-180F-491E-BC69-5AE4A7F2B044}"/>
              </a:ext>
            </a:extLst>
          </p:cNvPr>
          <p:cNvSpPr/>
          <p:nvPr userDrawn="1"/>
        </p:nvSpPr>
        <p:spPr>
          <a:xfrm>
            <a:off x="442914" y="1733550"/>
            <a:ext cx="5477255" cy="448310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E91F0D96-B8B7-49E7-A1A5-0420D4A2FFA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22" name="Subtitle">
            <a:extLst>
              <a:ext uri="{FF2B5EF4-FFF2-40B4-BE49-F238E27FC236}">
                <a16:creationId xmlns:a16="http://schemas.microsoft.com/office/drawing/2014/main" id="{1A112453-069F-4D8F-BAB7-8B3181BB9E29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3" name="Content Placeholder 1">
            <a:extLst>
              <a:ext uri="{FF2B5EF4-FFF2-40B4-BE49-F238E27FC236}">
                <a16:creationId xmlns:a16="http://schemas.microsoft.com/office/drawing/2014/main" id="{0BD516A6-9F06-4436-A0B9-5C832F635F77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 bwMode="gray">
          <a:xfrm>
            <a:off x="804672" y="3429001"/>
            <a:ext cx="4745736" cy="2602006"/>
          </a:xfrm>
        </p:spPr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  <a:lvl2pPr rtl="0">
              <a:defRPr>
                <a:solidFill>
                  <a:schemeClr val="bg1"/>
                </a:solidFill>
              </a:defRPr>
            </a:lvl2pPr>
            <a:lvl3pPr rtl="0">
              <a:defRPr>
                <a:solidFill>
                  <a:schemeClr val="bg1"/>
                </a:solidFill>
              </a:defRPr>
            </a:lvl3pPr>
            <a:lvl4pPr rtl="0">
              <a:defRPr>
                <a:solidFill>
                  <a:schemeClr val="bg1"/>
                </a:solidFill>
              </a:defRPr>
            </a:lvl4pPr>
            <a:lvl5pPr rtl="0"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458E0F27-C031-4670-B57F-CAF2C87A3F2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636124" y="3429000"/>
            <a:ext cx="4745736" cy="2602007"/>
          </a:xfrm>
        </p:spPr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31" name="Footnotes">
            <a:extLst>
              <a:ext uri="{FF2B5EF4-FFF2-40B4-BE49-F238E27FC236}">
                <a16:creationId xmlns:a16="http://schemas.microsoft.com/office/drawing/2014/main" id="{0CC902BC-05D3-466A-8553-DD5B59BEEF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33" name="Slide Number Placeholder">
            <a:extLst>
              <a:ext uri="{FF2B5EF4-FFF2-40B4-BE49-F238E27FC236}">
                <a16:creationId xmlns:a16="http://schemas.microsoft.com/office/drawing/2014/main" id="{24C05435-B396-49DA-B97B-C6E5930E64F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563DF090-817C-44CA-94D8-F4E5882CC2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  <p:pic>
        <p:nvPicPr>
          <p:cNvPr id="15" name="Strategy&amp;">
            <a:extLst>
              <a:ext uri="{FF2B5EF4-FFF2-40B4-BE49-F238E27FC236}">
                <a16:creationId xmlns:a16="http://schemas.microsoft.com/office/drawing/2014/main" id="{6E84A954-2B89-4000-ADD1-C001607AF00D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 bwMode="black">
          <a:xfrm>
            <a:off x="280988" y="349250"/>
            <a:ext cx="1828800" cy="488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11464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5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1" name="Title">
            <a:extLst>
              <a:ext uri="{FF2B5EF4-FFF2-40B4-BE49-F238E27FC236}">
                <a16:creationId xmlns:a16="http://schemas.microsoft.com/office/drawing/2014/main" id="{7BD80747-7BE5-45EB-BB0D-3717F9274A4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[Slide title]</a:t>
            </a:r>
          </a:p>
        </p:txBody>
      </p:sp>
      <p:sp>
        <p:nvSpPr>
          <p:cNvPr id="13" name="Subtitle">
            <a:extLst>
              <a:ext uri="{FF2B5EF4-FFF2-40B4-BE49-F238E27FC236}">
                <a16:creationId xmlns:a16="http://schemas.microsoft.com/office/drawing/2014/main" id="{424363E5-A7B4-4624-8E0A-1B48966C6CA4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rgbClr val="DB536A"/>
                </a:solidFill>
              </a:defRPr>
            </a:lvl9pPr>
          </a:lstStyle>
          <a:p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slide </a:t>
            </a:r>
            <a:r>
              <a:rPr lang="fr-FR" dirty="0" err="1"/>
              <a:t>subtitle</a:t>
            </a:r>
            <a:r>
              <a:rPr lang="fr-FR" dirty="0"/>
              <a:t>]</a:t>
            </a:r>
          </a:p>
        </p:txBody>
      </p:sp>
      <p:sp>
        <p:nvSpPr>
          <p:cNvPr id="14" name="Footer Placeholder">
            <a:extLst>
              <a:ext uri="{FF2B5EF4-FFF2-40B4-BE49-F238E27FC236}">
                <a16:creationId xmlns:a16="http://schemas.microsoft.com/office/drawing/2014/main" id="{317636F8-0E8D-41BB-9347-9F8CF9ADC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D60C340B-39B5-4D10-B8E6-C4B9C245A57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sp>
        <p:nvSpPr>
          <p:cNvPr id="16" name="Date Placeholder">
            <a:extLst>
              <a:ext uri="{FF2B5EF4-FFF2-40B4-BE49-F238E27FC236}">
                <a16:creationId xmlns:a16="http://schemas.microsoft.com/office/drawing/2014/main" id="{B174AB53-B651-4D26-9EF4-61BA6B204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22BE6F56-707D-417E-9F64-9C5CA4F6ED80}" type="datetime4">
              <a:rPr lang="fr-FR" smtClean="0"/>
              <a:t>5 octobre 2023</a:t>
            </a:fld>
            <a:endParaRPr lang="fr-FR"/>
          </a:p>
        </p:txBody>
      </p:sp>
      <p:sp>
        <p:nvSpPr>
          <p:cNvPr id="18" name="Slide Number Placeholder">
            <a:extLst>
              <a:ext uri="{FF2B5EF4-FFF2-40B4-BE49-F238E27FC236}">
                <a16:creationId xmlns:a16="http://schemas.microsoft.com/office/drawing/2014/main" id="{18E18123-C856-4CA6-A18D-BDA198D0F52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551E0FF-CEC5-4557-8B91-660F64F3B25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944761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E50A16EB-0E7E-4AC7-B4DE-1AE97F514A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98505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E50A16EB-0E7E-4AC7-B4DE-1AE97F514A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Date/Filepath" hidden="1"/>
          <p:cNvSpPr txBox="1"/>
          <p:nvPr userDrawn="1">
            <p:custDataLst>
              <p:tags r:id="rId2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3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9B83D3B3-B4C9-4F60-86EA-75CED066F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/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036DAA97-8136-43E1-9972-AA8DC949E8E5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F3F347F7-C040-4042-B734-AA04021057C4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2" name="Text Placeholder 1">
            <a:extLst>
              <a:ext uri="{FF2B5EF4-FFF2-40B4-BE49-F238E27FC236}">
                <a16:creationId xmlns:a16="http://schemas.microsoft.com/office/drawing/2014/main" id="{26553F95-0C53-4FDE-B357-C236D098E52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 rtl="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tx1"/>
                </a:solidFill>
              </a:defRPr>
            </a:lvl1pPr>
            <a:lvl2pPr marL="547688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2pPr>
            <a:lvl3pPr marL="73025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3pPr>
            <a:lvl4pPr marL="91440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4pPr>
            <a:lvl5pPr marL="1096963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4" name="Footnotes">
            <a:extLst>
              <a:ext uri="{FF2B5EF4-FFF2-40B4-BE49-F238E27FC236}">
                <a16:creationId xmlns:a16="http://schemas.microsoft.com/office/drawing/2014/main" id="{E9DA54DF-7B61-4A3A-92FA-6BBAA0DAE1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7" name="Slide Number Placeholder">
            <a:extLst>
              <a:ext uri="{FF2B5EF4-FFF2-40B4-BE49-F238E27FC236}">
                <a16:creationId xmlns:a16="http://schemas.microsoft.com/office/drawing/2014/main" id="{34FC9BBF-DAC7-463E-8E26-475FCB5B9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9E8A01C-8E4F-4EC3-9489-3905918CD96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253552686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70768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4D35A0DC-A9A3-4D0B-9591-78683A4F38B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A2541354-A789-41E1-84F6-896E9C925110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333AE21E-C86E-41E4-A641-637AF025A62A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>
              <a:solidFill>
                <a:schemeClr val="bg1"/>
              </a:solidFill>
            </a:endParaRPr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218CB18D-526B-49B3-8049-DF8C45676EC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 rtl="0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1B3D6B03-FE42-4D40-90E0-C6FAC4CBF9E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 dirty="0"/>
              <a:t>[Optional footnotes/references]</a:t>
            </a:r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D800E2C4-3FAB-480E-AFFC-D6A94D31FD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57C6E97-BC0D-49CA-8F2F-CC2081D19997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805811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Agenda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7C25A84-D5B1-41C7-AFBC-47DB74E7E0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3563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7C25A84-D5B1-41C7-AFBC-47DB74E7E0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1331860-9F29-466A-8C91-F75B6B8715C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1" name="Date/Filepath" hidden="1"/>
          <p:cNvSpPr txBox="1"/>
          <p:nvPr userDrawn="1">
            <p:custDataLst>
              <p:tags r:id="rId3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4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5" name="Title">
            <a:extLst>
              <a:ext uri="{FF2B5EF4-FFF2-40B4-BE49-F238E27FC236}">
                <a16:creationId xmlns:a16="http://schemas.microsoft.com/office/drawing/2014/main" id="{3F67AEB6-140D-4156-A23B-C6B1620420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2913" y="384048"/>
            <a:ext cx="11306175" cy="841248"/>
          </a:xfrm>
        </p:spPr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/>
              <a:t>[Slide title]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216245DB-0442-4EAA-A661-0B01B458C6F2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bg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1"/>
                </a:solidFill>
              </a:defRPr>
            </a:lvl9pPr>
          </a:lstStyle>
          <a:p>
            <a:r>
              <a:rPr lang="en-ZA"/>
              <a:t>[Optional slide subtitle]</a:t>
            </a:r>
          </a:p>
        </p:txBody>
      </p:sp>
      <p:sp>
        <p:nvSpPr>
          <p:cNvPr id="22" name="Bar">
            <a:extLst>
              <a:ext uri="{FF2B5EF4-FFF2-40B4-BE49-F238E27FC236}">
                <a16:creationId xmlns:a16="http://schemas.microsoft.com/office/drawing/2014/main" id="{21A7815F-275D-472E-BB5F-EB2AA0FAF605}"/>
              </a:ext>
            </a:extLst>
          </p:cNvPr>
          <p:cNvSpPr/>
          <p:nvPr userDrawn="1"/>
        </p:nvSpPr>
        <p:spPr bwMode="hidden">
          <a:xfrm>
            <a:off x="442912" y="1734669"/>
            <a:ext cx="5473701" cy="91440"/>
          </a:xfrm>
          <a:prstGeom prst="rect">
            <a:avLst/>
          </a:prstGeom>
          <a:solidFill>
            <a:srgbClr val="1EC0EB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sp>
        <p:nvSpPr>
          <p:cNvPr id="23" name="Text Placeholder 1">
            <a:extLst>
              <a:ext uri="{FF2B5EF4-FFF2-40B4-BE49-F238E27FC236}">
                <a16:creationId xmlns:a16="http://schemas.microsoft.com/office/drawing/2014/main" id="{75F5ECAF-B258-461D-916F-2D57CD2388DF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2912" y="1963270"/>
            <a:ext cx="11306175" cy="4254649"/>
          </a:xfrm>
        </p:spPr>
        <p:txBody>
          <a:bodyPr numCol="2" spcCol="356616">
            <a:noAutofit/>
          </a:bodyPr>
          <a:lstStyle>
            <a:lvl1pPr marL="365125" indent="-365125" rtl="0">
              <a:spcBef>
                <a:spcPts val="12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5426075" algn="r"/>
              </a:tabLst>
              <a:defRPr b="0">
                <a:solidFill>
                  <a:schemeClr val="bg1"/>
                </a:solidFill>
              </a:defRPr>
            </a:lvl1pPr>
            <a:lvl2pPr marL="547688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2pPr>
            <a:lvl3pPr marL="73025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3pPr>
            <a:lvl4pPr marL="914400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>
                <a:solidFill>
                  <a:schemeClr val="bg1"/>
                </a:solidFill>
              </a:defRPr>
            </a:lvl4pPr>
            <a:lvl5pPr marL="1096963" indent="-182563" rtl="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>
                <a:solidFill>
                  <a:schemeClr val="bg1"/>
                </a:solidFill>
              </a:defRPr>
            </a:lvl5pPr>
            <a:lvl6pPr marL="1279525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6pPr>
            <a:lvl7pPr marL="1462088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7pPr>
            <a:lvl8pPr marL="164465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5426075" algn="r"/>
              </a:tabLst>
              <a:defRPr/>
            </a:lvl8pPr>
            <a:lvl9pPr marL="1828800" indent="-182563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5426075" algn="r"/>
              </a:tabLst>
              <a:defRPr/>
            </a:lvl9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26" name="Footnotes">
            <a:extLst>
              <a:ext uri="{FF2B5EF4-FFF2-40B4-BE49-F238E27FC236}">
                <a16:creationId xmlns:a16="http://schemas.microsoft.com/office/drawing/2014/main" id="{D08B7141-337E-4E9A-B03B-31B74890FE7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28" name="Slide Number Placeholder">
            <a:extLst>
              <a:ext uri="{FF2B5EF4-FFF2-40B4-BE49-F238E27FC236}">
                <a16:creationId xmlns:a16="http://schemas.microsoft.com/office/drawing/2014/main" id="{2D7779EA-64B5-46C0-8526-6D29214708B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4480499-C040-434E-9E89-F176DE673510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02438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4E1D5023-E58F-461B-9243-9907D74769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847197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4E1D5023-E58F-461B-9243-9907D74769F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erTOCPlaceholder" hidden="1"/>
          <p:cNvSpPr txBox="1"/>
          <p:nvPr userDrawn="1">
            <p:custDataLst>
              <p:tags r:id="rId2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rtl="0"/>
            <a:endParaRPr lang="en-ZA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3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endParaRPr lang="en-ZA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3681E414-073D-4AB1-8B72-3AE5D835E8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 b="0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5" name="Slide Number Placeholder">
            <a:extLst>
              <a:ext uri="{FF2B5EF4-FFF2-40B4-BE49-F238E27FC236}">
                <a16:creationId xmlns:a16="http://schemas.microsoft.com/office/drawing/2014/main" id="{A969B31B-B223-4164-AF1A-92B494C771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/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601946-A40A-4D34-BD6D-96202F12B249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/>
          </a:p>
        </p:txBody>
      </p:sp>
    </p:spTree>
    <p:extLst>
      <p:ext uri="{BB962C8B-B14F-4D97-AF65-F5344CB8AC3E}">
        <p14:creationId xmlns:p14="http://schemas.microsoft.com/office/powerpoint/2010/main" val="1679114881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Dark Blu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B84E14B-5BAC-4BD7-B87F-3816BAF4B41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87889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5" progId="TCLayout.ActiveDocument.1">
                  <p:embed/>
                </p:oleObj>
              </mc:Choice>
              <mc:Fallback>
                <p:oleObj name="think-cell Slide" r:id="rId7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B84E14B-5BAC-4BD7-B87F-3816BAF4B41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HeaderTOCPlaceholder" hidden="1"/>
          <p:cNvSpPr txBox="1"/>
          <p:nvPr userDrawn="1">
            <p:custDataLst>
              <p:tags r:id="rId2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pPr rtl="0"/>
            <a:endParaRPr lang="en-ZA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8" name="Section Header" hidden="1"/>
          <p:cNvSpPr txBox="1"/>
          <p:nvPr userDrawn="1">
            <p:custDataLst>
              <p:tags r:id="rId3"/>
            </p:custDataLst>
          </p:nvPr>
        </p:nvSpPr>
        <p:spPr>
          <a:xfrm>
            <a:off x="642853" y="621255"/>
            <a:ext cx="3678035" cy="121024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noAutofit/>
          </a:bodyPr>
          <a:lstStyle/>
          <a:p>
            <a:pPr rtl="0"/>
            <a:endParaRPr lang="en-ZA" sz="795" noProof="1">
              <a:solidFill>
                <a:schemeClr val="bg1"/>
              </a:solidFill>
            </a:endParaRPr>
          </a:p>
        </p:txBody>
      </p:sp>
      <p:sp>
        <p:nvSpPr>
          <p:cNvPr id="6" name="Date/Filepath" hidden="1"/>
          <p:cNvSpPr txBox="1"/>
          <p:nvPr userDrawn="1">
            <p:custDataLst>
              <p:tags r:id="rId4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 rtl="0"/>
            <a:r>
              <a:rPr lang="en-ZA" sz="795" noProof="1"/>
              <a:t>7/24/2019 C:\Users\osalaun001\Desktop\NEW 16x9.potx</a:t>
            </a:r>
          </a:p>
        </p:txBody>
      </p:sp>
      <p:sp>
        <p:nvSpPr>
          <p:cNvPr id="17" name="Slide Tags" hidden="1"/>
          <p:cNvSpPr txBox="1"/>
          <p:nvPr userDrawn="1">
            <p:custDataLst>
              <p:tags r:id="rId5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ZA" sz="971" noProof="1"/>
              <a:t>Slide Tags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BA9C0DD3-0F46-4F3C-82AD-312EE9CA1AA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 rtl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en-ZA"/>
              <a:t>[Optional footnotes/references]</a:t>
            </a:r>
          </a:p>
        </p:txBody>
      </p:sp>
      <p:sp>
        <p:nvSpPr>
          <p:cNvPr id="16" name="Slide Number Placeholder">
            <a:extLst>
              <a:ext uri="{FF2B5EF4-FFF2-40B4-BE49-F238E27FC236}">
                <a16:creationId xmlns:a16="http://schemas.microsoft.com/office/drawing/2014/main" id="{A2044F5A-0900-47E5-B3C7-8F742B253D0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 rtl="0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568EAA6-A36C-47A1-A9F5-F9F0EB1F986E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 rtl="0"/>
            <a:endParaRPr lang="en-ZA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255411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Logo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A3362119-36F0-4CC7-87C6-4A880697B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193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A3362119-36F0-4CC7-87C6-4A880697B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ar">
            <a:extLst>
              <a:ext uri="{FF2B5EF4-FFF2-40B4-BE49-F238E27FC236}">
                <a16:creationId xmlns:a16="http://schemas.microsoft.com/office/drawing/2014/main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6351700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059">
              <a:solidFill>
                <a:schemeClr val="bg1"/>
              </a:solidFill>
            </a:endParaRPr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ZA" noProof="0"/>
              <a:t>Prepared by </a:t>
            </a:r>
            <a:r>
              <a:rPr lang="en-ZA" noProof="0" err="1"/>
              <a:t>Firstname</a:t>
            </a:r>
            <a:r>
              <a:rPr lang="en-ZA" noProof="0"/>
              <a:t> </a:t>
            </a:r>
            <a:r>
              <a:rPr lang="en-ZA" noProof="0" err="1"/>
              <a:t>Lastname</a:t>
            </a:r>
            <a:r>
              <a:rPr lang="en-ZA" noProof="0"/>
              <a:t>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 rtl="0"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4CD305E2-54DC-4934-920A-F6D874108324}" type="datetime4">
              <a:rPr lang="fr-FR" smtClean="0"/>
              <a:t>5 octobre 2023</a:t>
            </a:fld>
            <a:endParaRPr lang="en-ZA"/>
          </a:p>
        </p:txBody>
      </p:sp>
      <p:pic>
        <p:nvPicPr>
          <p:cNvPr id="58376" name="Picture 8" descr="Destin Commun">
            <a:extLst>
              <a:ext uri="{FF2B5EF4-FFF2-40B4-BE49-F238E27FC236}">
                <a16:creationId xmlns:a16="http://schemas.microsoft.com/office/drawing/2014/main" id="{58D08041-9B98-2226-013B-9030E00A756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alphaModFix amt="51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10" r="60998"/>
          <a:stretch/>
        </p:blipFill>
        <p:spPr bwMode="auto">
          <a:xfrm>
            <a:off x="7057219" y="-74493"/>
            <a:ext cx="8727500" cy="6992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8" name="Picture 10" descr="Destin Commun">
            <a:extLst>
              <a:ext uri="{FF2B5EF4-FFF2-40B4-BE49-F238E27FC236}">
                <a16:creationId xmlns:a16="http://schemas.microsoft.com/office/drawing/2014/main" id="{0BAB5117-9FCB-08E4-19C2-FE9388412D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00" y="622659"/>
            <a:ext cx="1753451" cy="542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4">
            <a:extLst>
              <a:ext uri="{FF2B5EF4-FFF2-40B4-BE49-F238E27FC236}">
                <a16:creationId xmlns:a16="http://schemas.microsoft.com/office/drawing/2014/main" id="{DDBB624F-FC1A-B6B6-C2FB-AD783217DB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4" y="1848391"/>
            <a:ext cx="6346826" cy="2200911"/>
          </a:xfrm>
        </p:spPr>
        <p:txBody>
          <a:bodyPr anchor="t"/>
          <a:lstStyle>
            <a:lvl1pPr>
              <a:defRPr sz="3600"/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411624887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Logo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A3362119-36F0-4CC7-87C6-4A880697B73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619360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A3362119-36F0-4CC7-87C6-4A880697B7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Bar">
            <a:extLst>
              <a:ext uri="{FF2B5EF4-FFF2-40B4-BE49-F238E27FC236}">
                <a16:creationId xmlns:a16="http://schemas.microsoft.com/office/drawing/2014/main" id="{3ABF52F5-417A-4CB5-80C3-9DAA05D6215D}"/>
              </a:ext>
            </a:extLst>
          </p:cNvPr>
          <p:cNvSpPr/>
          <p:nvPr userDrawn="1"/>
        </p:nvSpPr>
        <p:spPr bwMode="hidden">
          <a:xfrm>
            <a:off x="442800" y="1504950"/>
            <a:ext cx="6351700" cy="914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059">
              <a:solidFill>
                <a:schemeClr val="bg1"/>
              </a:solidFill>
            </a:endParaRPr>
          </a:p>
        </p:txBody>
      </p:sp>
      <p:sp>
        <p:nvSpPr>
          <p:cNvPr id="19" name="Report Subtitle">
            <a:extLst>
              <a:ext uri="{FF2B5EF4-FFF2-40B4-BE49-F238E27FC236}">
                <a16:creationId xmlns:a16="http://schemas.microsoft.com/office/drawing/2014/main" id="{5BAD403B-7343-40AC-AFA5-B6322E1BD70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442800" y="4480560"/>
            <a:ext cx="4312286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ZA" noProof="0"/>
              <a:t>Prepared by </a:t>
            </a:r>
            <a:r>
              <a:rPr lang="en-ZA" noProof="0" err="1"/>
              <a:t>Firstname</a:t>
            </a:r>
            <a:r>
              <a:rPr lang="en-ZA" noProof="0"/>
              <a:t> </a:t>
            </a:r>
            <a:r>
              <a:rPr lang="en-ZA" noProof="0" err="1"/>
              <a:t>Lastname</a:t>
            </a:r>
            <a:r>
              <a:rPr lang="en-ZA" noProof="0"/>
              <a:t> </a:t>
            </a:r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762C06-2F9F-4188-8B74-D55118EBA8F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42800" y="4681037"/>
            <a:ext cx="431228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 rtl="0"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4CD305E2-54DC-4934-920A-F6D874108324}" type="datetime4">
              <a:rPr lang="fr-FR" smtClean="0"/>
              <a:t>5 octobre 2023</a:t>
            </a:fld>
            <a:endParaRPr lang="en-ZA"/>
          </a:p>
        </p:txBody>
      </p:sp>
      <p:pic>
        <p:nvPicPr>
          <p:cNvPr id="58376" name="Picture 8" descr="Destin Commun">
            <a:extLst>
              <a:ext uri="{FF2B5EF4-FFF2-40B4-BE49-F238E27FC236}">
                <a16:creationId xmlns:a16="http://schemas.microsoft.com/office/drawing/2014/main" id="{58D08041-9B98-2226-013B-9030E00A7562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6">
            <a:alphaModFix amt="63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010" r="60998"/>
          <a:stretch/>
        </p:blipFill>
        <p:spPr bwMode="auto">
          <a:xfrm>
            <a:off x="7057219" y="-74493"/>
            <a:ext cx="8727500" cy="69928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8378" name="Picture 10" descr="Destin Commun">
            <a:extLst>
              <a:ext uri="{FF2B5EF4-FFF2-40B4-BE49-F238E27FC236}">
                <a16:creationId xmlns:a16="http://schemas.microsoft.com/office/drawing/2014/main" id="{0BAB5117-9FCB-08E4-19C2-FE9388412DA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800" y="622659"/>
            <a:ext cx="1753451" cy="5424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re 4">
            <a:extLst>
              <a:ext uri="{FF2B5EF4-FFF2-40B4-BE49-F238E27FC236}">
                <a16:creationId xmlns:a16="http://schemas.microsoft.com/office/drawing/2014/main" id="{6A1E4671-2836-85D0-B06A-B2959352E1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47674" y="1848391"/>
            <a:ext cx="6346826" cy="2200911"/>
          </a:xfrm>
        </p:spPr>
        <p:txBody>
          <a:bodyPr anchor="t"/>
          <a:lstStyle>
            <a:lvl1pPr>
              <a:defRPr sz="3600">
                <a:solidFill>
                  <a:schemeClr val="bg1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63984076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Whit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E24C1506-3DEE-4F59-92DC-6F332574EE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101357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92" imgH="595" progId="TCLayout.ActiveDocument.1">
                  <p:embed/>
                </p:oleObj>
              </mc:Choice>
              <mc:Fallback>
                <p:oleObj name="think-cell Slide" r:id="rId4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E24C1506-3DEE-4F59-92DC-6F332574EE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B65CDBA0-F5CA-4D09-B56B-1C568C512DE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460441" y="1504950"/>
            <a:ext cx="6508560" cy="276224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200">
                <a:solidFill>
                  <a:srgbClr val="12A059"/>
                </a:solidFill>
              </a:defRPr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ZA" dirty="0"/>
              <a:t>OPTIONAL DOCUMENT TYPE</a:t>
            </a:r>
          </a:p>
        </p:txBody>
      </p:sp>
      <p:sp>
        <p:nvSpPr>
          <p:cNvPr id="11" name="Report Subtitle">
            <a:extLst>
              <a:ext uri="{FF2B5EF4-FFF2-40B4-BE49-F238E27FC236}">
                <a16:creationId xmlns:a16="http://schemas.microsoft.com/office/drawing/2014/main" id="{6113A42C-4D9D-43C4-8FE0-FC7E3EEEDB6E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2"/>
            </p:custDataLst>
          </p:nvPr>
        </p:nvSpPr>
        <p:spPr bwMode="white">
          <a:xfrm>
            <a:off x="3460441" y="4228279"/>
            <a:ext cx="5303520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tx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ZA" noProof="0"/>
              <a:t>Prepared by </a:t>
            </a:r>
            <a:r>
              <a:rPr lang="en-ZA" noProof="0" err="1"/>
              <a:t>Firstname</a:t>
            </a:r>
            <a:r>
              <a:rPr lang="en-ZA" noProof="0"/>
              <a:t> </a:t>
            </a:r>
            <a:r>
              <a:rPr lang="en-ZA" noProof="0" err="1"/>
              <a:t>Lastname</a:t>
            </a:r>
            <a:r>
              <a:rPr lang="en-ZA" noProof="0"/>
              <a:t> </a:t>
            </a:r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C79D7836-7CF6-4812-80FC-F7C096B13EE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460441" y="4461523"/>
            <a:ext cx="1727656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 rtl="0">
              <a:defRPr lang="en-GB" sz="1400" i="0" dirty="0">
                <a:latin typeface="+mn-lt"/>
                <a:cs typeface="+mn-cs"/>
              </a:defRPr>
            </a:lvl1pPr>
          </a:lstStyle>
          <a:p>
            <a:fld id="{1C23D94B-D5DA-4C83-85AA-84D2EA3C6C3A}" type="datetime4">
              <a:rPr lang="fr-FR" smtClean="0"/>
              <a:t>5 octobre 2023</a:t>
            </a:fld>
            <a:endParaRPr lang="en-ZA"/>
          </a:p>
        </p:txBody>
      </p:sp>
      <p:sp>
        <p:nvSpPr>
          <p:cNvPr id="15" name="Bar">
            <a:extLst>
              <a:ext uri="{FF2B5EF4-FFF2-40B4-BE49-F238E27FC236}">
                <a16:creationId xmlns:a16="http://schemas.microsoft.com/office/drawing/2014/main" id="{169DE280-8C85-4701-9EE0-00637F3AAF25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rgbClr val="22409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/>
          </a:p>
        </p:txBody>
      </p:sp>
      <p:pic>
        <p:nvPicPr>
          <p:cNvPr id="4" name="Image 3" descr="Une image contenant Graphiqu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1599C5A6-77F9-E532-0F29-F27ADB51C70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550" t="18806" r="66430" b="24450"/>
          <a:stretch/>
        </p:blipFill>
        <p:spPr>
          <a:xfrm>
            <a:off x="0" y="1164179"/>
            <a:ext cx="3276600" cy="3512788"/>
          </a:xfrm>
          <a:prstGeom prst="rect">
            <a:avLst/>
          </a:prstGeom>
        </p:spPr>
      </p:pic>
      <p:pic>
        <p:nvPicPr>
          <p:cNvPr id="6" name="Image 5" descr="Une image contenant Graphique, capture d’écran, Police, graphisme&#10;&#10;Description générée automatiquement">
            <a:extLst>
              <a:ext uri="{FF2B5EF4-FFF2-40B4-BE49-F238E27FC236}">
                <a16:creationId xmlns:a16="http://schemas.microsoft.com/office/drawing/2014/main" id="{CC4E16F0-17CE-7FEB-D0DB-1865C013C1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239" t="19556" b="33245"/>
          <a:stretch/>
        </p:blipFill>
        <p:spPr>
          <a:xfrm>
            <a:off x="183841" y="147209"/>
            <a:ext cx="3276600" cy="1146593"/>
          </a:xfrm>
          <a:prstGeom prst="rect">
            <a:avLst/>
          </a:prstGeom>
        </p:spPr>
      </p:pic>
      <p:sp>
        <p:nvSpPr>
          <p:cNvPr id="7" name="Titre 4">
            <a:extLst>
              <a:ext uri="{FF2B5EF4-FFF2-40B4-BE49-F238E27FC236}">
                <a16:creationId xmlns:a16="http://schemas.microsoft.com/office/drawing/2014/main" id="{5D2D66F1-6EB0-A211-F6CD-D8F824C22C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60440" y="1848391"/>
            <a:ext cx="8288647" cy="2200911"/>
          </a:xfrm>
        </p:spPr>
        <p:txBody>
          <a:bodyPr anchor="t"/>
          <a:lstStyle>
            <a:lvl1pPr>
              <a:defRPr sz="3600">
                <a:solidFill>
                  <a:srgbClr val="00B0F0"/>
                </a:solidFill>
              </a:defRPr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107744179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Low Lin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4D02B9-874F-483D-B34A-CCEF9C94E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4032633"/>
              </p:ext>
            </p:ext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4D02B9-874F-483D-B34A-CCEF9C94E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C034E0-AEB0-4FBC-977D-E75BC1AA30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824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7C5654F-E68F-42CD-B826-25FF7338CB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66261" y="1504950"/>
            <a:ext cx="8811335" cy="276224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ZA" dirty="0"/>
              <a:t>OPTIONAL DOCUMENT TYPE</a:t>
            </a:r>
          </a:p>
        </p:txBody>
      </p:sp>
      <p:sp>
        <p:nvSpPr>
          <p:cNvPr id="21" name="Report Subtitle">
            <a:extLst>
              <a:ext uri="{FF2B5EF4-FFF2-40B4-BE49-F238E27FC236}">
                <a16:creationId xmlns:a16="http://schemas.microsoft.com/office/drawing/2014/main" id="{5A6A8018-218E-42F0-B45E-4361BD5C224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766261" y="4228279"/>
            <a:ext cx="7179943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ZA" noProof="0" dirty="0"/>
              <a:t>Prepared by </a:t>
            </a:r>
            <a:r>
              <a:rPr lang="en-ZA" noProof="0" dirty="0" err="1"/>
              <a:t>Firstname</a:t>
            </a:r>
            <a:r>
              <a:rPr lang="en-ZA" noProof="0" dirty="0"/>
              <a:t> </a:t>
            </a:r>
            <a:r>
              <a:rPr lang="en-ZA" noProof="0" dirty="0" err="1"/>
              <a:t>Lastname</a:t>
            </a:r>
            <a:r>
              <a:rPr lang="en-ZA" noProof="0" dirty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CCC8219A-F466-4399-92B1-6BDA247AD3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6261" y="4461523"/>
            <a:ext cx="2338913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 rtl="0"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0EE4A5F1-5910-4377-A452-46452D312EF1}" type="datetime4">
              <a:rPr lang="fr-FR" smtClean="0"/>
              <a:t>5 octobre 2023</a:t>
            </a:fld>
            <a:endParaRPr lang="en-ZA"/>
          </a:p>
        </p:txBody>
      </p:sp>
      <p:sp>
        <p:nvSpPr>
          <p:cNvPr id="27" name="Bar">
            <a:extLst>
              <a:ext uri="{FF2B5EF4-FFF2-40B4-BE49-F238E27FC236}">
                <a16:creationId xmlns:a16="http://schemas.microsoft.com/office/drawing/2014/main" id="{A8F8B7B4-0205-4AF1-B585-7E0663535D51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>
              <a:solidFill>
                <a:schemeClr val="bg1"/>
              </a:solidFill>
            </a:endParaRPr>
          </a:p>
        </p:txBody>
      </p:sp>
      <p:pic>
        <p:nvPicPr>
          <p:cNvPr id="61446" name="Picture 6" descr="Destin Commun">
            <a:extLst>
              <a:ext uri="{FF2B5EF4-FFF2-40B4-BE49-F238E27FC236}">
                <a16:creationId xmlns:a16="http://schemas.microsoft.com/office/drawing/2014/main" id="{1BFF3A86-A084-C776-C0DE-9DD67E0CE1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5" r="68883" b="-1"/>
          <a:stretch/>
        </p:blipFill>
        <p:spPr bwMode="auto">
          <a:xfrm>
            <a:off x="189386" y="1643062"/>
            <a:ext cx="2374776" cy="2364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8" name="Picture 8" descr="Destin Commun">
            <a:extLst>
              <a:ext uri="{FF2B5EF4-FFF2-40B4-BE49-F238E27FC236}">
                <a16:creationId xmlns:a16="http://schemas.microsoft.com/office/drawing/2014/main" id="{0D9449BB-C2C1-455B-7CF5-BCCE4DD17A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69"/>
          <a:stretch/>
        </p:blipFill>
        <p:spPr bwMode="auto">
          <a:xfrm>
            <a:off x="189386" y="689441"/>
            <a:ext cx="1600504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4">
            <a:extLst>
              <a:ext uri="{FF2B5EF4-FFF2-40B4-BE49-F238E27FC236}">
                <a16:creationId xmlns:a16="http://schemas.microsoft.com/office/drawing/2014/main" id="{EF6D1566-3E3A-4766-7786-DC5E3AE784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6261" y="1848391"/>
            <a:ext cx="8811334" cy="2200911"/>
          </a:xfrm>
        </p:spPr>
        <p:txBody>
          <a:bodyPr anchor="t"/>
          <a:lstStyle>
            <a:lvl1pPr>
              <a:defRPr sz="3600"/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88071227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- Low Line - Dark Blue"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4D02B9-874F-483D-B34A-CCEF9C94E7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24032633"/>
              </p:ext>
            </p:ext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3" imgH="424" progId="TCLayout.ActiveDocument.1">
                  <p:embed/>
                </p:oleObj>
              </mc:Choice>
              <mc:Fallback>
                <p:oleObj name="think-cell Slide" r:id="rId5" imgW="423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4D02B9-874F-483D-B34A-CCEF9C94E7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CC034E0-AEB0-4FBC-977D-E75BC1AA307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ZA" sz="2824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7C5654F-E68F-42CD-B826-25FF7338CBB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766261" y="1504950"/>
            <a:ext cx="8811335" cy="276224"/>
          </a:xfrm>
          <a:prstGeom prst="rect">
            <a:avLst/>
          </a:prstGeom>
        </p:spPr>
        <p:txBody>
          <a:bodyPr/>
          <a:lstStyle>
            <a:lvl1pPr marL="0" indent="0" rtl="0">
              <a:buNone/>
              <a:defRPr sz="1200">
                <a:solidFill>
                  <a:schemeClr val="bg1"/>
                </a:solidFill>
              </a:defRPr>
            </a:lvl1pPr>
            <a:lvl2pPr>
              <a:defRPr sz="883"/>
            </a:lvl2pPr>
            <a:lvl3pPr>
              <a:defRPr sz="883"/>
            </a:lvl3pPr>
            <a:lvl4pPr>
              <a:defRPr sz="883"/>
            </a:lvl4pPr>
            <a:lvl5pPr>
              <a:defRPr sz="883"/>
            </a:lvl5pPr>
          </a:lstStyle>
          <a:p>
            <a:pPr lvl="0"/>
            <a:r>
              <a:rPr lang="en-ZA" dirty="0"/>
              <a:t>OPTIONAL DOCUMENT TYPE</a:t>
            </a:r>
          </a:p>
        </p:txBody>
      </p:sp>
      <p:sp>
        <p:nvSpPr>
          <p:cNvPr id="21" name="Report Subtitle">
            <a:extLst>
              <a:ext uri="{FF2B5EF4-FFF2-40B4-BE49-F238E27FC236}">
                <a16:creationId xmlns:a16="http://schemas.microsoft.com/office/drawing/2014/main" id="{5A6A8018-218E-42F0-B45E-4361BD5C2248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 bwMode="white">
          <a:xfrm>
            <a:off x="2766261" y="4228279"/>
            <a:ext cx="7179943" cy="193899"/>
          </a:xfrm>
          <a:prstGeom prst="rect">
            <a:avLst/>
          </a:prstGeom>
        </p:spPr>
        <p:txBody>
          <a:bodyPr wrap="square" tIns="0" bIns="0" anchor="b" anchorCtr="0">
            <a:spAutoFit/>
          </a:bodyPr>
          <a:lstStyle>
            <a:lvl1pPr marL="0" indent="0" algn="l" rtl="0">
              <a:lnSpc>
                <a:spcPct val="90000"/>
              </a:lnSpc>
              <a:spcAft>
                <a:spcPts val="0"/>
              </a:spcAft>
              <a:buNone/>
              <a:defRPr sz="1400" baseline="0">
                <a:solidFill>
                  <a:schemeClr val="bg1"/>
                </a:solidFill>
                <a:latin typeface="+mn-lt"/>
              </a:defRPr>
            </a:lvl1pPr>
            <a:lvl2pPr marL="4494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8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83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7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72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966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461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955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ZA" noProof="0"/>
              <a:t>Prepared by </a:t>
            </a:r>
            <a:r>
              <a:rPr lang="en-ZA" noProof="0" err="1"/>
              <a:t>Firstname</a:t>
            </a:r>
            <a:r>
              <a:rPr lang="en-ZA" noProof="0"/>
              <a:t> </a:t>
            </a:r>
            <a:r>
              <a:rPr lang="en-ZA" noProof="0" err="1"/>
              <a:t>Lastname</a:t>
            </a:r>
            <a:r>
              <a:rPr lang="en-ZA" noProof="0"/>
              <a:t> </a:t>
            </a:r>
          </a:p>
        </p:txBody>
      </p:sp>
      <p:sp>
        <p:nvSpPr>
          <p:cNvPr id="22" name="Date Placeholder 3">
            <a:extLst>
              <a:ext uri="{FF2B5EF4-FFF2-40B4-BE49-F238E27FC236}">
                <a16:creationId xmlns:a16="http://schemas.microsoft.com/office/drawing/2014/main" id="{CCC8219A-F466-4399-92B1-6BDA247AD3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766261" y="4461523"/>
            <a:ext cx="2338913" cy="215444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t">
            <a:spAutoFit/>
          </a:bodyPr>
          <a:lstStyle>
            <a:lvl1pPr rtl="0">
              <a:defRPr lang="en-GB" sz="1400" i="0" dirty="0">
                <a:solidFill>
                  <a:schemeClr val="bg1"/>
                </a:solidFill>
                <a:latin typeface="+mn-lt"/>
                <a:cs typeface="+mn-cs"/>
              </a:defRPr>
            </a:lvl1pPr>
          </a:lstStyle>
          <a:p>
            <a:fld id="{0EE4A5F1-5910-4377-A452-46452D312EF1}" type="datetime4">
              <a:rPr lang="fr-FR" smtClean="0"/>
              <a:t>5 octobre 2023</a:t>
            </a:fld>
            <a:endParaRPr lang="en-ZA"/>
          </a:p>
        </p:txBody>
      </p:sp>
      <p:sp>
        <p:nvSpPr>
          <p:cNvPr id="27" name="Bar">
            <a:extLst>
              <a:ext uri="{FF2B5EF4-FFF2-40B4-BE49-F238E27FC236}">
                <a16:creationId xmlns:a16="http://schemas.microsoft.com/office/drawing/2014/main" id="{A8F8B7B4-0205-4AF1-B585-7E0663535D51}"/>
              </a:ext>
            </a:extLst>
          </p:cNvPr>
          <p:cNvSpPr/>
          <p:nvPr userDrawn="1"/>
        </p:nvSpPr>
        <p:spPr bwMode="hidden">
          <a:xfrm>
            <a:off x="442912" y="5120640"/>
            <a:ext cx="11306176" cy="91440"/>
          </a:xfrm>
          <a:prstGeom prst="rect">
            <a:avLst/>
          </a:prstGeom>
          <a:solidFill>
            <a:srgbClr val="12A059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>
              <a:lnSpc>
                <a:spcPct val="100000"/>
              </a:lnSpc>
            </a:pPr>
            <a:endParaRPr lang="en-ZA" sz="1600">
              <a:solidFill>
                <a:schemeClr val="bg1"/>
              </a:solidFill>
            </a:endParaRPr>
          </a:p>
        </p:txBody>
      </p:sp>
      <p:pic>
        <p:nvPicPr>
          <p:cNvPr id="61446" name="Picture 6" descr="Destin Commun">
            <a:extLst>
              <a:ext uri="{FF2B5EF4-FFF2-40B4-BE49-F238E27FC236}">
                <a16:creationId xmlns:a16="http://schemas.microsoft.com/office/drawing/2014/main" id="{1BFF3A86-A084-C776-C0DE-9DD67E0CE1B5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55" r="68883" b="-1"/>
          <a:stretch/>
        </p:blipFill>
        <p:spPr bwMode="auto">
          <a:xfrm>
            <a:off x="189386" y="1643062"/>
            <a:ext cx="2374776" cy="236473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48" name="Picture 8" descr="Destin Commun">
            <a:extLst>
              <a:ext uri="{FF2B5EF4-FFF2-40B4-BE49-F238E27FC236}">
                <a16:creationId xmlns:a16="http://schemas.microsoft.com/office/drawing/2014/main" id="{0D9449BB-C2C1-455B-7CF5-BCCE4DD17AF3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669"/>
          <a:stretch/>
        </p:blipFill>
        <p:spPr bwMode="auto">
          <a:xfrm>
            <a:off x="189386" y="689441"/>
            <a:ext cx="1600504" cy="7943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>
            <a:extLst>
              <a:ext uri="{FF2B5EF4-FFF2-40B4-BE49-F238E27FC236}">
                <a16:creationId xmlns:a16="http://schemas.microsoft.com/office/drawing/2014/main" id="{5DFBEE6A-DC60-788E-A8FF-EA9403796D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766261" y="2060270"/>
            <a:ext cx="8811335" cy="1947526"/>
          </a:xfrm>
        </p:spPr>
        <p:txBody>
          <a:bodyPr anchor="t"/>
          <a:lstStyle>
            <a:lvl1pPr>
              <a:defRPr sz="3600"/>
            </a:lvl1pPr>
          </a:lstStyle>
          <a:p>
            <a:r>
              <a:rPr lang="fr-FR" dirty="0"/>
              <a:t>Titre</a:t>
            </a:r>
          </a:p>
        </p:txBody>
      </p:sp>
    </p:spTree>
    <p:extLst>
      <p:ext uri="{BB962C8B-B14F-4D97-AF65-F5344CB8AC3E}">
        <p14:creationId xmlns:p14="http://schemas.microsoft.com/office/powerpoint/2010/main" val="5998063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Date/Filepath" hidden="1"/>
          <p:cNvSpPr txBox="1"/>
          <p:nvPr userDrawn="1">
            <p:custDataLst>
              <p:tags r:id="rId1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7/24/2019 C:\Users\osalaun001\Desktop\NEW 16x9.potx</a:t>
            </a:r>
          </a:p>
        </p:txBody>
      </p:sp>
      <p:sp>
        <p:nvSpPr>
          <p:cNvPr id="19" name="Slide Tags" hidden="1"/>
          <p:cNvSpPr txBox="1"/>
          <p:nvPr userDrawn="1">
            <p:custDataLst>
              <p:tags r:id="rId2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16" name="Subtitle">
            <a:extLst>
              <a:ext uri="{FF2B5EF4-FFF2-40B4-BE49-F238E27FC236}">
                <a16:creationId xmlns:a16="http://schemas.microsoft.com/office/drawing/2014/main" id="{CCA3B1AF-08CB-42ED-8E9B-4DF0808AE1F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42913" y="1276212"/>
            <a:ext cx="11306173" cy="320177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00" b="1">
                <a:solidFill>
                  <a:schemeClr val="tx2"/>
                </a:solidFill>
              </a:defRPr>
            </a:lvl9pPr>
          </a:lstStyle>
          <a:p>
            <a:r>
              <a:rPr lang="fr-FR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948CDBDB-853A-40BF-9A97-2EE5BB854C7C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429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67CE1D3-0BEF-4328-96FE-CD6DAE3C0202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336061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2AB30038-1641-4536-B3C2-7A45382457B7}"/>
              </a:ext>
            </a:extLst>
          </p:cNvPr>
          <p:cNvSpPr>
            <a:spLocks noGrp="1"/>
          </p:cNvSpPr>
          <p:nvPr>
            <p:ph sz="half" idx="13" hasCustomPrompt="1"/>
          </p:nvPr>
        </p:nvSpPr>
        <p:spPr>
          <a:xfrm>
            <a:off x="6275388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41A70BE8-CB7D-4748-BF26-EE78808AD0F5}"/>
              </a:ext>
            </a:extLst>
          </p:cNvPr>
          <p:cNvSpPr>
            <a:spLocks noGrp="1"/>
          </p:cNvSpPr>
          <p:nvPr>
            <p:ph sz="half" idx="14" hasCustomPrompt="1"/>
          </p:nvPr>
        </p:nvSpPr>
        <p:spPr>
          <a:xfrm>
            <a:off x="9190163" y="1733550"/>
            <a:ext cx="2560320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fr-FR"/>
              <a:t>Click to edit Master text styles</a:t>
            </a:r>
          </a:p>
          <a:p>
            <a:pPr lvl="1"/>
            <a:r>
              <a:rPr lang="fr-FR"/>
              <a:t>Second level</a:t>
            </a:r>
          </a:p>
          <a:p>
            <a:pPr lvl="2"/>
            <a:r>
              <a:rPr lang="fr-FR"/>
              <a:t>Third level</a:t>
            </a:r>
          </a:p>
          <a:p>
            <a:pPr lvl="3"/>
            <a:r>
              <a:rPr lang="fr-FR"/>
              <a:t>Fourth level</a:t>
            </a:r>
          </a:p>
          <a:p>
            <a:pPr lvl="4"/>
            <a:r>
              <a:rPr lang="fr-FR"/>
              <a:t>Fifth level</a:t>
            </a:r>
          </a:p>
        </p:txBody>
      </p:sp>
      <p:sp>
        <p:nvSpPr>
          <p:cNvPr id="29" name="Footnotes">
            <a:extLst>
              <a:ext uri="{FF2B5EF4-FFF2-40B4-BE49-F238E27FC236}">
                <a16:creationId xmlns:a16="http://schemas.microsoft.com/office/drawing/2014/main" id="{42AEC844-65A2-4CF5-8C04-8DA348B149D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 b="0"/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 dirty="0"/>
              <a:t>[</a:t>
            </a:r>
            <a:r>
              <a:rPr lang="fr-FR" dirty="0" err="1"/>
              <a:t>Optional</a:t>
            </a:r>
            <a:r>
              <a:rPr lang="fr-FR" dirty="0"/>
              <a:t> </a:t>
            </a:r>
            <a:r>
              <a:rPr lang="fr-FR" dirty="0" err="1"/>
              <a:t>footnotes</a:t>
            </a:r>
            <a:r>
              <a:rPr lang="fr-FR" dirty="0"/>
              <a:t>/</a:t>
            </a:r>
            <a:r>
              <a:rPr lang="fr-FR" dirty="0" err="1"/>
              <a:t>references</a:t>
            </a:r>
            <a:r>
              <a:rPr lang="fr-FR" dirty="0"/>
              <a:t>]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27036C1-362C-4A4B-88A1-695EE5107CFF}"/>
              </a:ext>
            </a:extLst>
          </p:cNvPr>
          <p:cNvSpPr txBox="1"/>
          <p:nvPr userDrawn="1"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 anchor="b" anchorCtr="0">
            <a:noAutofit/>
          </a:bodyPr>
          <a:lstStyle>
            <a:defPPr>
              <a:defRPr lang="en-US"/>
            </a:defPPr>
            <a:lvl1pPr lvl="0">
              <a:defRPr sz="750">
                <a:cs typeface="Arial" pitchFamily="34" charset="0"/>
              </a:defRPr>
            </a:lvl1pPr>
          </a:lstStyle>
          <a:p>
            <a:pPr lvl="0"/>
            <a:endParaRPr lang="fr-FR" noProof="0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7B286C0B-8112-4027-D297-D814618B4C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</p:spTree>
    <p:extLst>
      <p:ext uri="{BB962C8B-B14F-4D97-AF65-F5344CB8AC3E}">
        <p14:creationId xmlns:p14="http://schemas.microsoft.com/office/powerpoint/2010/main" val="365674687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3D168E38-89E2-46FC-938B-671B286F6C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510565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3D168E38-89E2-46FC-938B-671B286F6C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DF46200-AEDE-47B1-BFDA-E2EA20B53C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r>
              <a:rPr lang="en-ZA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9B557B-14BB-4DDB-B782-A76CBC404F5E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 rtl="0">
              <a:defRPr/>
            </a:lvl1pPr>
            <a:lvl2pPr rtl="0">
              <a:defRPr/>
            </a:lvl2pPr>
            <a:lvl3pPr rtl="0">
              <a:defRPr/>
            </a:lvl3pPr>
            <a:lvl4pPr rtl="0">
              <a:defRPr/>
            </a:lvl4pPr>
            <a:lvl5pPr rtl="0">
              <a:defRPr/>
            </a:lvl5pPr>
          </a:lstStyle>
          <a:p>
            <a:pPr lvl="0"/>
            <a:r>
              <a:rPr lang="en-ZA"/>
              <a:t>Click to edit Master text styles</a:t>
            </a:r>
          </a:p>
          <a:p>
            <a:pPr lvl="1"/>
            <a:r>
              <a:rPr lang="en-ZA"/>
              <a:t>Second level</a:t>
            </a:r>
          </a:p>
          <a:p>
            <a:pPr lvl="2"/>
            <a:r>
              <a:rPr lang="en-ZA"/>
              <a:t>Third level</a:t>
            </a:r>
          </a:p>
          <a:p>
            <a:pPr lvl="3"/>
            <a:r>
              <a:rPr lang="en-ZA"/>
              <a:t>Fourth level</a:t>
            </a:r>
          </a:p>
          <a:p>
            <a:pPr lvl="4"/>
            <a:r>
              <a:rPr lang="en-ZA"/>
              <a:t>Fif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B9A356-AF38-45FF-86AA-D2C2E8D32A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rtl="0">
              <a:defRPr>
                <a:solidFill>
                  <a:schemeClr val="bg1"/>
                </a:solidFill>
              </a:defRPr>
            </a:lvl1pPr>
          </a:lstStyle>
          <a:p>
            <a:pPr algn="r"/>
            <a:fld id="{4D5A39AF-FEF5-47AB-AA80-4C0BD4A8B092}" type="slidenum">
              <a:rPr lang="en-ZA" smtClean="0"/>
              <a:pPr algn="r"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4824399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s">
  <p:cSld name="1_Two Columns">
    <p:spTree>
      <p:nvGrpSpPr>
        <p:cNvPr id="1" name="Shape 7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5C680208-8C13-4189-A478-28C26F896C7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9955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5C680208-8C13-4189-A478-28C26F896C7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47" name="Google Shape;747;p93"/>
          <p:cNvSpPr txBox="1">
            <a:spLocks noGrp="1"/>
          </p:cNvSpPr>
          <p:nvPr>
            <p:ph type="title"/>
          </p:nvPr>
        </p:nvSpPr>
        <p:spPr>
          <a:xfrm>
            <a:off x="442913" y="384048"/>
            <a:ext cx="11306175" cy="841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200"/>
              <a:buFont typeface="Georgia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ZA"/>
          </a:p>
        </p:txBody>
      </p:sp>
      <p:sp>
        <p:nvSpPr>
          <p:cNvPr id="748" name="Google Shape;748;p93"/>
          <p:cNvSpPr txBox="1">
            <a:spLocks noGrp="1"/>
          </p:cNvSpPr>
          <p:nvPr>
            <p:ph type="subTitle" idx="1"/>
          </p:nvPr>
        </p:nvSpPr>
        <p:spPr>
          <a:xfrm>
            <a:off x="442913" y="1276212"/>
            <a:ext cx="11306173" cy="320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9pPr>
          </a:lstStyle>
          <a:p>
            <a:endParaRPr lang="en-ZA"/>
          </a:p>
        </p:txBody>
      </p:sp>
      <p:sp>
        <p:nvSpPr>
          <p:cNvPr id="749" name="Google Shape;749;p93"/>
          <p:cNvSpPr txBox="1">
            <a:spLocks noGrp="1"/>
          </p:cNvSpPr>
          <p:nvPr>
            <p:ph type="body" idx="2"/>
          </p:nvPr>
        </p:nvSpPr>
        <p:spPr>
          <a:xfrm>
            <a:off x="438912" y="1733550"/>
            <a:ext cx="5477256" cy="4484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1pPr>
            <a:lvl2pPr marL="914400" lvl="1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 lang="en-ZA"/>
          </a:p>
        </p:txBody>
      </p:sp>
      <p:sp>
        <p:nvSpPr>
          <p:cNvPr id="750" name="Google Shape;750;p93"/>
          <p:cNvSpPr txBox="1">
            <a:spLocks noGrp="1"/>
          </p:cNvSpPr>
          <p:nvPr>
            <p:ph type="body" idx="3"/>
          </p:nvPr>
        </p:nvSpPr>
        <p:spPr>
          <a:xfrm>
            <a:off x="6272784" y="1733550"/>
            <a:ext cx="5477256" cy="448437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1pPr>
            <a:lvl2pPr marL="914400" lvl="1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2pPr>
            <a:lvl3pPr marL="1371600" lvl="2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3pPr>
            <a:lvl4pPr marL="1828800" lvl="3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4pPr>
            <a:lvl5pPr marL="2286000" lvl="4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5pPr>
            <a:lvl6pPr marL="2743200" lvl="5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6pPr>
            <a:lvl7pPr marL="3200400" lvl="6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/>
            </a:lvl7pPr>
            <a:lvl8pPr marL="3657600" lvl="7" indent="-3302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600"/>
              <a:buChar char="–"/>
              <a:defRPr/>
            </a:lvl8pPr>
            <a:lvl9pPr marL="4114800" lvl="8" indent="-330200" algn="l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dk1"/>
              </a:buClr>
              <a:buSzPts val="1600"/>
              <a:buChar char="•"/>
              <a:defRPr/>
            </a:lvl9pPr>
          </a:lstStyle>
          <a:p>
            <a:endParaRPr lang="en-ZA"/>
          </a:p>
        </p:txBody>
      </p:sp>
      <p:sp>
        <p:nvSpPr>
          <p:cNvPr id="751" name="Google Shape;751;p93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ZA"/>
              <a:t>Title</a:t>
            </a:r>
          </a:p>
        </p:txBody>
      </p:sp>
      <p:sp>
        <p:nvSpPr>
          <p:cNvPr id="752" name="Google Shape;752;p93"/>
          <p:cNvSpPr txBox="1">
            <a:spLocks noGrp="1"/>
          </p:cNvSpPr>
          <p:nvPr>
            <p:ph type="body" idx="4"/>
          </p:nvPr>
        </p:nvSpPr>
        <p:spPr>
          <a:xfrm>
            <a:off x="2432304" y="6355077"/>
            <a:ext cx="7315200" cy="274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 b="0">
                <a:solidFill>
                  <a:schemeClr val="tx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9pPr>
          </a:lstStyle>
          <a:p>
            <a:endParaRPr lang="en-ZA"/>
          </a:p>
        </p:txBody>
      </p:sp>
      <p:sp>
        <p:nvSpPr>
          <p:cNvPr id="753" name="Google Shape;753;p93"/>
          <p:cNvSpPr txBox="1"/>
          <p:nvPr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ZA" dirty="0"/>
          </a:p>
        </p:txBody>
      </p:sp>
      <p:sp>
        <p:nvSpPr>
          <p:cNvPr id="754" name="Google Shape;754;p93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F8A7B919-C8F4-4F22-9ABB-125EAFF1C7D8}" type="datetime4">
              <a:rPr lang="fr-FR" smtClean="0"/>
              <a:t>5 octobre 2023</a:t>
            </a:fld>
            <a:endParaRPr lang="en-ZA"/>
          </a:p>
        </p:txBody>
      </p:sp>
      <p:sp>
        <p:nvSpPr>
          <p:cNvPr id="755" name="Google Shape;755;p93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75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ZA" smtClean="0"/>
              <a:pPr/>
              <a:t>‹N°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067108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Only - White">
  <p:cSld name="1_Title Only - White"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>
            <a:extLst>
              <a:ext uri="{FF2B5EF4-FFF2-40B4-BE49-F238E27FC236}">
                <a16:creationId xmlns:a16="http://schemas.microsoft.com/office/drawing/2014/main" id="{390C7915-5DB6-4AB2-A339-A96A5DDE67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4401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5" progId="TCLayout.ActiveDocument.1">
                  <p:embed/>
                </p:oleObj>
              </mc:Choice>
              <mc:Fallback>
                <p:oleObj name="think-cell Slide" r:id="rId3" imgW="592" imgH="595" progId="TCLayout.ActiveDocument.1">
                  <p:embed/>
                  <p:pic>
                    <p:nvPicPr>
                      <p:cNvPr id="2" name="Objet 1" hidden="1">
                        <a:extLst>
                          <a:ext uri="{FF2B5EF4-FFF2-40B4-BE49-F238E27FC236}">
                            <a16:creationId xmlns:a16="http://schemas.microsoft.com/office/drawing/2014/main" id="{390C7915-5DB6-4AB2-A339-A96A5DDE67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Google Shape;66;p47"/>
          <p:cNvSpPr txBox="1">
            <a:spLocks noGrp="1"/>
          </p:cNvSpPr>
          <p:nvPr>
            <p:ph type="title"/>
          </p:nvPr>
        </p:nvSpPr>
        <p:spPr>
          <a:xfrm>
            <a:off x="442913" y="384048"/>
            <a:ext cx="11306175" cy="84124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Georgia"/>
              <a:buNone/>
              <a:defRPr sz="28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 lang="en-ZA"/>
          </a:p>
        </p:txBody>
      </p:sp>
      <p:sp>
        <p:nvSpPr>
          <p:cNvPr id="67" name="Google Shape;67;p47"/>
          <p:cNvSpPr txBox="1">
            <a:spLocks noGrp="1"/>
          </p:cNvSpPr>
          <p:nvPr>
            <p:ph type="subTitle" idx="1"/>
          </p:nvPr>
        </p:nvSpPr>
        <p:spPr>
          <a:xfrm>
            <a:off x="442913" y="1276212"/>
            <a:ext cx="11306173" cy="3201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>
                <a:solidFill>
                  <a:schemeClr val="dk2"/>
                </a:solidFill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>
                <a:solidFill>
                  <a:schemeClr val="dk2"/>
                </a:solidFill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>
                <a:solidFill>
                  <a:schemeClr val="dk2"/>
                </a:solidFill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 b="1">
                <a:solidFill>
                  <a:schemeClr val="dk2"/>
                </a:solidFill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1">
                <a:solidFill>
                  <a:schemeClr val="dk2"/>
                </a:solidFill>
              </a:defRPr>
            </a:lvl9pPr>
          </a:lstStyle>
          <a:p>
            <a:endParaRPr lang="en-ZA"/>
          </a:p>
        </p:txBody>
      </p:sp>
      <p:sp>
        <p:nvSpPr>
          <p:cNvPr id="68" name="Google Shape;68;p47"/>
          <p:cNvSpPr txBox="1">
            <a:spLocks noGrp="1"/>
          </p:cNvSpPr>
          <p:nvPr>
            <p:ph type="ftr" idx="11"/>
          </p:nvPr>
        </p:nvSpPr>
        <p:spPr>
          <a:xfrm>
            <a:off x="442912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ZA"/>
              <a:t>Title</a:t>
            </a:r>
          </a:p>
        </p:txBody>
      </p:sp>
      <p:sp>
        <p:nvSpPr>
          <p:cNvPr id="69" name="Google Shape;69;p47"/>
          <p:cNvSpPr txBox="1">
            <a:spLocks noGrp="1"/>
          </p:cNvSpPr>
          <p:nvPr>
            <p:ph type="body" idx="2"/>
          </p:nvPr>
        </p:nvSpPr>
        <p:spPr>
          <a:xfrm>
            <a:off x="2432304" y="6355077"/>
            <a:ext cx="7315200" cy="2743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>
            <a:lvl1pPr marL="45720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Font typeface="Arial"/>
              <a:buNone/>
              <a:defRPr sz="750" b="0">
                <a:solidFill>
                  <a:schemeClr val="tx1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Font typeface="Arial"/>
              <a:buNone/>
              <a:defRPr sz="750"/>
            </a:lvl2pPr>
            <a:lvl3pPr marL="1371600" lvl="2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Font typeface="Arial"/>
              <a:buNone/>
              <a:defRPr sz="750"/>
            </a:lvl3pPr>
            <a:lvl4pPr marL="1828800" lvl="3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Font typeface="Arial"/>
              <a:buNone/>
              <a:defRPr sz="750"/>
            </a:lvl4pPr>
            <a:lvl5pPr marL="2286000" lvl="4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750"/>
              <a:buFont typeface="Arial"/>
              <a:buNone/>
              <a:defRPr sz="750"/>
            </a:lvl5pPr>
            <a:lvl6pPr marL="2743200" lvl="5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6pPr>
            <a:lvl7pPr marL="3200400" lvl="6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7pPr>
            <a:lvl8pPr marL="3657600" lvl="7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8pPr>
            <a:lvl9pPr marL="4114800" lvl="8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750"/>
              <a:buFont typeface="Arial"/>
              <a:buNone/>
              <a:defRPr sz="750"/>
            </a:lvl9pPr>
          </a:lstStyle>
          <a:p>
            <a:endParaRPr lang="en-ZA" dirty="0"/>
          </a:p>
        </p:txBody>
      </p:sp>
      <p:sp>
        <p:nvSpPr>
          <p:cNvPr id="70" name="Google Shape;70;p47"/>
          <p:cNvSpPr txBox="1">
            <a:spLocks noGrp="1"/>
          </p:cNvSpPr>
          <p:nvPr>
            <p:ph type="dt" idx="10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925" rIns="0" bIns="509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fld id="{012E83A3-38A7-46B7-8C66-E45399DB1E9C}" type="datetime4">
              <a:rPr lang="fr-FR" smtClean="0"/>
              <a:t>5 octobre 2023</a:t>
            </a:fld>
            <a:endParaRPr lang="en-ZA"/>
          </a:p>
        </p:txBody>
      </p:sp>
      <p:sp>
        <p:nvSpPr>
          <p:cNvPr id="71" name="Google Shape;71;p47"/>
          <p:cNvSpPr txBox="1">
            <a:spLocks noGrp="1"/>
          </p:cNvSpPr>
          <p:nvPr>
            <p:ph type="sldNum" idx="12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50925" rIns="0" bIns="50925" anchor="ctr" anchorCtr="0">
            <a:noAutofit/>
          </a:bodyPr>
          <a:lstStyle>
            <a:lvl1pPr marL="0" lvl="0" indent="0" algn="r" rtl="0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lvl="1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lvl="2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lvl="3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lvl="4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lvl="5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lvl="6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lvl="7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lvl="8" indent="0" algn="r">
              <a:spcBef>
                <a:spcPts val="0"/>
              </a:spcBef>
              <a:buNone/>
              <a:defRPr sz="80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ZA" smtClean="0"/>
              <a:pPr/>
              <a:t>‹N°›</a:t>
            </a:fld>
            <a:endParaRPr lang="en-ZA"/>
          </a:p>
        </p:txBody>
      </p:sp>
      <p:sp>
        <p:nvSpPr>
          <p:cNvPr id="72" name="Google Shape;72;p47"/>
          <p:cNvSpPr txBox="1"/>
          <p:nvPr/>
        </p:nvSpPr>
        <p:spPr>
          <a:xfrm>
            <a:off x="442912" y="6519672"/>
            <a:ext cx="435977" cy="10972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b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lang="en-ZA" sz="750" dirty="0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79907806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Header - Full Image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">
            <a:extLst>
              <a:ext uri="{FF2B5EF4-FFF2-40B4-BE49-F238E27FC236}">
                <a16:creationId xmlns:a16="http://schemas.microsoft.com/office/drawing/2014/main" id="{55D9D2B5-F6CB-4389-8F2C-FBB3FAF27C7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0"/>
            <a:ext cx="12192000" cy="6858000"/>
          </a:xfrm>
          <a:solidFill>
            <a:srgbClr val="000000">
              <a:alpha val="30196"/>
            </a:srgbClr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vert="horz" lIns="0" tIns="0" rIns="0" bIns="0" numCol="1" rtlCol="0" anchor="ctr">
            <a:noAutofit/>
          </a:bodyPr>
          <a:lstStyle>
            <a:lvl1pPr marL="0" indent="0">
              <a:buNone/>
              <a:defRPr lang="en-GB" dirty="0">
                <a:solidFill>
                  <a:schemeClr val="bg1"/>
                </a:solidFill>
              </a:defRPr>
            </a:lvl1pPr>
          </a:lstStyle>
          <a:p>
            <a:pPr lvl="0" algn="ctr" defTabSz="914293"/>
            <a:r>
              <a:rPr lang="fr-FR"/>
              <a:t> </a:t>
            </a:r>
          </a:p>
        </p:txBody>
      </p:sp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2FB8CAC-A7A5-4730-A80B-53C621DE55E8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12192000" cy="6858000"/>
          </a:xfrm>
          <a:solidFill>
            <a:srgbClr val="224099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fr-FR"/>
              <a:t>Cliquez sur l'icône pour ajouter une image</a:t>
            </a:r>
          </a:p>
        </p:txBody>
      </p:sp>
      <p:sp>
        <p:nvSpPr>
          <p:cNvPr id="23" name="Section Type">
            <a:extLst>
              <a:ext uri="{FF2B5EF4-FFF2-40B4-BE49-F238E27FC236}">
                <a16:creationId xmlns:a16="http://schemas.microsoft.com/office/drawing/2014/main" id="{95F88C0A-8CD7-4B69-B18D-09B546CF863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2913" y="817880"/>
            <a:ext cx="547370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6000" b="1" cap="all" baseline="0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#</a:t>
            </a:r>
          </a:p>
        </p:txBody>
      </p:sp>
      <p:sp>
        <p:nvSpPr>
          <p:cNvPr id="25" name="Title">
            <a:extLst>
              <a:ext uri="{FF2B5EF4-FFF2-40B4-BE49-F238E27FC236}">
                <a16:creationId xmlns:a16="http://schemas.microsoft.com/office/drawing/2014/main" id="{A55F7786-AFCE-46F6-A9CF-FB53F2062C8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42912" y="1733550"/>
            <a:ext cx="11306175" cy="183261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4800" b="0" spc="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fr-FR"/>
              <a:t>[Section header </a:t>
            </a:r>
            <a:r>
              <a:rPr lang="fr-FR" err="1"/>
              <a:t>title</a:t>
            </a:r>
            <a:r>
              <a:rPr lang="fr-FR"/>
              <a:t>]</a:t>
            </a:r>
          </a:p>
        </p:txBody>
      </p:sp>
      <p:sp>
        <p:nvSpPr>
          <p:cNvPr id="26" name="Bar">
            <a:extLst>
              <a:ext uri="{FF2B5EF4-FFF2-40B4-BE49-F238E27FC236}">
                <a16:creationId xmlns:a16="http://schemas.microsoft.com/office/drawing/2014/main" id="{856506E4-CBE4-436B-8671-AFEEA6EAE8A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42913" y="3749040"/>
            <a:ext cx="5586984" cy="91440"/>
          </a:xfrm>
          <a:solidFill>
            <a:srgbClr val="00B0F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bg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fr-FR"/>
              <a:t> </a:t>
            </a:r>
          </a:p>
        </p:txBody>
      </p:sp>
      <p:sp>
        <p:nvSpPr>
          <p:cNvPr id="31" name="Text Placeholder 1">
            <a:extLst>
              <a:ext uri="{FF2B5EF4-FFF2-40B4-BE49-F238E27FC236}">
                <a16:creationId xmlns:a16="http://schemas.microsoft.com/office/drawing/2014/main" id="{2EBCDC09-07FB-46C1-8A20-00FA5C36031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3" y="4023360"/>
            <a:ext cx="5586984" cy="2193290"/>
          </a:xfrm>
        </p:spPr>
        <p:txBody>
          <a:bodyPr/>
          <a:lstStyle>
            <a:lvl1pPr marL="0" indent="0">
              <a:spcAft>
                <a:spcPts val="600"/>
              </a:spcAft>
              <a:buFont typeface="Arial" panose="020B0604020202020204" pitchFamily="34" charset="0"/>
              <a:buNone/>
              <a:defRPr sz="1600" b="1">
                <a:solidFill>
                  <a:schemeClr val="bg1"/>
                </a:solidFill>
              </a:defRPr>
            </a:lvl1pPr>
            <a:lvl2pPr marL="468630" indent="-28575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>
                <a:solidFill>
                  <a:schemeClr val="bg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bg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/>
            </a:lvl9pPr>
          </a:lstStyle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</p:txBody>
      </p:sp>
      <p:sp>
        <p:nvSpPr>
          <p:cNvPr id="32" name="Footnotes">
            <a:extLst>
              <a:ext uri="{FF2B5EF4-FFF2-40B4-BE49-F238E27FC236}">
                <a16:creationId xmlns:a16="http://schemas.microsoft.com/office/drawing/2014/main" id="{C6C949C6-C4E2-47EE-AF6D-38A96261E85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32304" y="6355077"/>
            <a:ext cx="73152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5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750"/>
            </a:lvl2pPr>
            <a:lvl3pPr marL="0" indent="0">
              <a:spcAft>
                <a:spcPts val="0"/>
              </a:spcAft>
              <a:buFontTx/>
              <a:buNone/>
              <a:defRPr sz="750"/>
            </a:lvl3pPr>
            <a:lvl4pPr marL="0" indent="0">
              <a:spcAft>
                <a:spcPts val="0"/>
              </a:spcAft>
              <a:buFontTx/>
              <a:buNone/>
              <a:defRPr sz="750"/>
            </a:lvl4pPr>
            <a:lvl5pPr marL="0" indent="0">
              <a:spcAft>
                <a:spcPts val="0"/>
              </a:spcAft>
              <a:buFontTx/>
              <a:buNone/>
              <a:defRPr sz="750"/>
            </a:lvl5pPr>
            <a:lvl6pPr marL="0" indent="0">
              <a:spcAft>
                <a:spcPts val="0"/>
              </a:spcAft>
              <a:buFontTx/>
              <a:buNone/>
              <a:defRPr sz="750"/>
            </a:lvl6pPr>
            <a:lvl7pPr marL="0" indent="0">
              <a:spcAft>
                <a:spcPts val="0"/>
              </a:spcAft>
              <a:buFontTx/>
              <a:buNone/>
              <a:defRPr sz="750"/>
            </a:lvl7pPr>
            <a:lvl8pPr marL="0" indent="0">
              <a:spcAft>
                <a:spcPts val="0"/>
              </a:spcAft>
              <a:buFontTx/>
              <a:buNone/>
              <a:defRPr sz="750"/>
            </a:lvl8pPr>
            <a:lvl9pPr marL="0" indent="0">
              <a:spcAft>
                <a:spcPts val="0"/>
              </a:spcAft>
              <a:buFontTx/>
              <a:buNone/>
              <a:defRPr sz="750"/>
            </a:lvl9pPr>
          </a:lstStyle>
          <a:p>
            <a:pPr lvl="0"/>
            <a:r>
              <a:rPr lang="fr-FR"/>
              <a:t>[Optional footnotes/references]</a:t>
            </a: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550DD9D-BE89-427B-BCAE-685CC5A8AC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25" imgH="424" progId="TCLayout.ActiveDocument.1">
                  <p:embed/>
                </p:oleObj>
              </mc:Choice>
              <mc:Fallback>
                <p:oleObj name="think-cell Slide" r:id="rId8" imgW="425" imgH="42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550DD9D-BE89-427B-BCAE-685CC5A8AC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ED391093-6B91-4A09-BED9-3C21C6D10F0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6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4" name="HeaderTOCPlaceholder" hidden="1"/>
          <p:cNvSpPr txBox="1"/>
          <p:nvPr userDrawn="1">
            <p:custDataLst>
              <p:tags r:id="rId4"/>
            </p:custDataLst>
          </p:nvPr>
        </p:nvSpPr>
        <p:spPr>
          <a:xfrm>
            <a:off x="4341093" y="621261"/>
            <a:ext cx="7204363" cy="122341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endParaRPr lang="fr-FR" sz="795" noProof="1">
              <a:solidFill>
                <a:schemeClr val="tx1"/>
              </a:solidFill>
              <a:latin typeface="+mn-lt"/>
              <a:cs typeface="Arial" pitchFamily="34" charset="0"/>
            </a:endParaRPr>
          </a:p>
        </p:txBody>
      </p:sp>
      <p:sp>
        <p:nvSpPr>
          <p:cNvPr id="14" name="Date/Filepath" hidden="1"/>
          <p:cNvSpPr txBox="1"/>
          <p:nvPr userDrawn="1">
            <p:custDataLst>
              <p:tags r:id="rId5"/>
            </p:custDataLst>
          </p:nvPr>
        </p:nvSpPr>
        <p:spPr>
          <a:xfrm>
            <a:off x="3999358" y="267302"/>
            <a:ext cx="7536873" cy="122341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r>
              <a:rPr lang="fr-FR" sz="795" noProof="1"/>
              <a:t>6/11/2019 C:\Users\osalaun001\Desktop\Presentation14.pptx</a:t>
            </a:r>
          </a:p>
        </p:txBody>
      </p:sp>
      <p:sp>
        <p:nvSpPr>
          <p:cNvPr id="11" name="Slide Tags" hidden="1"/>
          <p:cNvSpPr txBox="1"/>
          <p:nvPr userDrawn="1">
            <p:custDataLst>
              <p:tags r:id="rId6"/>
            </p:custDataLst>
          </p:nvPr>
        </p:nvSpPr>
        <p:spPr>
          <a:xfrm>
            <a:off x="0" y="201713"/>
            <a:ext cx="1939637" cy="2417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971" noProof="1"/>
              <a:t>Slide Tags</a:t>
            </a:r>
          </a:p>
        </p:txBody>
      </p:sp>
      <p:sp>
        <p:nvSpPr>
          <p:cNvPr id="27" name="Footer Placeholder">
            <a:extLst>
              <a:ext uri="{FF2B5EF4-FFF2-40B4-BE49-F238E27FC236}">
                <a16:creationId xmlns:a16="http://schemas.microsoft.com/office/drawing/2014/main" id="{5C21B352-F7BA-44B4-BE01-E7A926C9D37E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>
          <a:xfrm>
            <a:off x="442912" y="6355080"/>
            <a:ext cx="1764792" cy="13716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/>
              <a:t>Title</a:t>
            </a:r>
          </a:p>
        </p:txBody>
      </p:sp>
      <p:sp>
        <p:nvSpPr>
          <p:cNvPr id="29" name="Date Placeholder">
            <a:extLst>
              <a:ext uri="{FF2B5EF4-FFF2-40B4-BE49-F238E27FC236}">
                <a16:creationId xmlns:a16="http://schemas.microsoft.com/office/drawing/2014/main" id="{0CAD1D4C-1B54-49AB-8EA8-A951BFC91BA4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9984296" y="635508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3C705111-3EF0-46A6-85BE-0AD225F3B9B4}" type="datetime4">
              <a:rPr lang="fr-FR" smtClean="0"/>
              <a:t>5 octobre 2023</a:t>
            </a:fld>
            <a:endParaRPr lang="fr-FR"/>
          </a:p>
        </p:txBody>
      </p:sp>
      <p:sp>
        <p:nvSpPr>
          <p:cNvPr id="30" name="Slide Number Placeholder">
            <a:extLst>
              <a:ext uri="{FF2B5EF4-FFF2-40B4-BE49-F238E27FC236}">
                <a16:creationId xmlns:a16="http://schemas.microsoft.com/office/drawing/2014/main" id="{C2B87031-E677-41DE-BE36-7C0546F214DC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>
          <a:xfrm>
            <a:off x="9984296" y="6492240"/>
            <a:ext cx="1764792" cy="137160"/>
          </a:xfrm>
        </p:spPr>
        <p:txBody>
          <a:bodyPr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fld id="{7870704B-CE94-48CC-AF30-84932A1262A7}" type="slidenum">
              <a:rPr lang="fr-FR" smtClean="0"/>
              <a:pPr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9448510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8" Type="http://schemas.openxmlformats.org/officeDocument/2006/relationships/slideLayout" Target="../slideLayouts/slideLayout8.xml"/><Relationship Id="rId51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tags" Target="../tags/tag132.xml"/><Relationship Id="rId50" Type="http://schemas.openxmlformats.org/officeDocument/2006/relationships/image" Target="../media/image1.emf"/><Relationship Id="rId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9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oleObject" Target="../embeddings/oleObject15.bin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tags" Target="../tags/tag133.xml"/><Relationship Id="rId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51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theme" Target="../theme/theme2.xml"/><Relationship Id="rId20" Type="http://schemas.openxmlformats.org/officeDocument/2006/relationships/slideLayout" Target="../slideLayouts/slideLayout68.xml"/><Relationship Id="rId41" Type="http://schemas.openxmlformats.org/officeDocument/2006/relationships/slideLayout" Target="../slideLayouts/slideLayout89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981672383"/>
              </p:ext>
            </p:ext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2" imgW="415" imgH="416" progId="TCLayout.ActiveDocument.1">
                  <p:embed/>
                </p:oleObj>
              </mc:Choice>
              <mc:Fallback>
                <p:oleObj name="think-cell Slide" r:id="rId52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51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fr-FR" sz="32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4" y="457200"/>
            <a:ext cx="11301414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fr-FR" noProof="0" dirty="0"/>
              <a:t>Modifiez le style du tit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718687" y="6330950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smtClean="0">
                <a:latin typeface="+mn-lt"/>
                <a:cs typeface="Arial" pitchFamily="34" charset="0"/>
              </a:defRPr>
            </a:lvl1pPr>
          </a:lstStyle>
          <a:p>
            <a:pPr algn="r"/>
            <a:fld id="{AB1D6CF9-F7BC-4491-BB44-B214B2AAF76B}" type="datetime4">
              <a:rPr lang="fr-FR" smtClean="0"/>
              <a:t>5 octobre 2023</a:t>
            </a:fld>
            <a:endParaRPr lang="fr-FR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45008" y="6330950"/>
            <a:ext cx="2847974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dirty="0">
                <a:latin typeface="+mn-lt"/>
                <a:cs typeface="Arial" pitchFamily="34" charset="0"/>
              </a:defRPr>
            </a:lvl1pPr>
          </a:lstStyle>
          <a:p>
            <a:r>
              <a:rPr lang="fr-FR" dirty="0" err="1"/>
              <a:t>Title</a:t>
            </a:r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18687" y="6484747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>
              <a:defRPr lang="en-GB" sz="750" smtClean="0">
                <a:latin typeface="+mn-lt"/>
                <a:cs typeface="Arial" pitchFamily="34" charset="0"/>
              </a:defRPr>
            </a:lvl1pPr>
          </a:lstStyle>
          <a:p>
            <a:pPr algn="r"/>
            <a:fld id="{4D5A39AF-FEF5-47AB-AA80-4C0BD4A8B092}" type="slidenum">
              <a:rPr lang="fr-FR" smtClean="0"/>
              <a:pPr algn="r"/>
              <a:t>‹N°›</a:t>
            </a:fld>
            <a:endParaRPr lang="fr-FR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F6EABF-6A2E-4DCC-AB0D-6A1CC2987E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674" y="1670050"/>
            <a:ext cx="11301984" cy="45481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fr-FR" dirty="0"/>
              <a:t>Click to </a:t>
            </a:r>
            <a:r>
              <a:rPr lang="fr-FR" dirty="0" err="1"/>
              <a:t>add</a:t>
            </a:r>
            <a:r>
              <a:rPr lang="fr-FR" dirty="0"/>
              <a:t> </a:t>
            </a:r>
            <a:r>
              <a:rPr lang="fr-FR" dirty="0" err="1"/>
              <a:t>text</a:t>
            </a:r>
            <a:endParaRPr lang="fr-FR" dirty="0"/>
          </a:p>
          <a:p>
            <a:pPr lvl="1"/>
            <a:r>
              <a:rPr lang="fr-FR" dirty="0"/>
              <a:t>Second </a:t>
            </a:r>
            <a:r>
              <a:rPr lang="fr-FR" dirty="0" err="1"/>
              <a:t>level</a:t>
            </a:r>
            <a:endParaRPr lang="fr-FR" dirty="0"/>
          </a:p>
          <a:p>
            <a:pPr lvl="2"/>
            <a:r>
              <a:rPr lang="fr-FR" dirty="0" err="1"/>
              <a:t>Third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3"/>
            <a:r>
              <a:rPr lang="fr-FR" dirty="0" err="1"/>
              <a:t>Four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4"/>
            <a:r>
              <a:rPr lang="fr-FR" dirty="0" err="1"/>
              <a:t>Fif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5"/>
            <a:r>
              <a:rPr lang="fr-FR" dirty="0" err="1"/>
              <a:t>Six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6"/>
            <a:r>
              <a:rPr lang="fr-FR" dirty="0" err="1"/>
              <a:t>Seve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7"/>
            <a:r>
              <a:rPr lang="fr-FR" dirty="0" err="1"/>
              <a:t>Eigh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  <a:p>
            <a:pPr lvl="8"/>
            <a:r>
              <a:rPr lang="fr-FR" dirty="0" err="1"/>
              <a:t>Ninth</a:t>
            </a:r>
            <a:r>
              <a:rPr lang="fr-FR" dirty="0"/>
              <a:t> </a:t>
            </a:r>
            <a:r>
              <a:rPr lang="fr-FR" dirty="0" err="1"/>
              <a:t>level</a:t>
            </a:r>
            <a:endParaRPr lang="fr-FR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01" r:id="rId2"/>
    <p:sldLayoutId id="2147483745" r:id="rId3"/>
    <p:sldLayoutId id="2147483761" r:id="rId4"/>
    <p:sldLayoutId id="2147483762" r:id="rId5"/>
    <p:sldLayoutId id="2147483705" r:id="rId6"/>
    <p:sldLayoutId id="2147483785" r:id="rId7"/>
    <p:sldLayoutId id="2147483786" r:id="rId8"/>
    <p:sldLayoutId id="2147483763" r:id="rId9"/>
    <p:sldLayoutId id="2147483764" r:id="rId10"/>
    <p:sldLayoutId id="2147483765" r:id="rId11"/>
    <p:sldLayoutId id="2147483700" r:id="rId12"/>
    <p:sldLayoutId id="2147483766" r:id="rId13"/>
    <p:sldLayoutId id="2147483915" r:id="rId14"/>
    <p:sldLayoutId id="2147483767" r:id="rId15"/>
    <p:sldLayoutId id="2147483916" r:id="rId16"/>
    <p:sldLayoutId id="2147483768" r:id="rId17"/>
    <p:sldLayoutId id="2147483770" r:id="rId18"/>
    <p:sldLayoutId id="2147483769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818" r:id="rId29"/>
    <p:sldLayoutId id="2147483904" r:id="rId30"/>
    <p:sldLayoutId id="2147483819" r:id="rId31"/>
    <p:sldLayoutId id="2147483905" r:id="rId32"/>
    <p:sldLayoutId id="2147483820" r:id="rId33"/>
    <p:sldLayoutId id="2147483906" r:id="rId34"/>
    <p:sldLayoutId id="2147483721" r:id="rId35"/>
    <p:sldLayoutId id="2147483787" r:id="rId36"/>
    <p:sldLayoutId id="2147483917" r:id="rId37"/>
    <p:sldLayoutId id="2147483918" r:id="rId38"/>
    <p:sldLayoutId id="2147483791" r:id="rId39"/>
    <p:sldLayoutId id="2147483825" r:id="rId40"/>
    <p:sldLayoutId id="2147483907" r:id="rId41"/>
    <p:sldLayoutId id="2147483821" r:id="rId42"/>
    <p:sldLayoutId id="2147483822" r:id="rId43"/>
    <p:sldLayoutId id="2147483823" r:id="rId44"/>
    <p:sldLayoutId id="2147483824" r:id="rId45"/>
    <p:sldLayoutId id="2147483884" r:id="rId46"/>
    <p:sldLayoutId id="2147483903" r:id="rId47"/>
    <p:sldLayoutId id="2147483920" r:id="rId48"/>
  </p:sldLayoutIdLst>
  <p:hf hdr="0" ftr="0" dt="0"/>
  <p:txStyles>
    <p:titleStyle>
      <a:lvl1pPr algn="l" defTabSz="898900" rtl="0" eaLnBrk="1" latinLnBrk="0" hangingPunct="1">
        <a:spcBef>
          <a:spcPct val="0"/>
        </a:spcBef>
        <a:buNone/>
        <a:defRPr lang="en-GB" sz="3200" b="0" i="0" kern="1200" baseline="0" noProof="0" dirty="0">
          <a:solidFill>
            <a:srgbClr val="224099"/>
          </a:solidFill>
          <a:latin typeface="+mj-lt"/>
          <a:ea typeface="+mj-ea"/>
          <a:cs typeface="+mj-cs"/>
        </a:defRPr>
      </a:lvl1pPr>
    </p:titleStyle>
    <p:bodyStyle>
      <a:lvl1pPr marL="201613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1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90537" marR="0" indent="-285750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000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32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64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Georgia" panose="02040502050405020303" pitchFamily="18" charset="0"/>
        <a:buChar char="•"/>
        <a:tabLst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096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128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63512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847850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447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890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349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7798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246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669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14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5593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1" userDrawn="1">
          <p15:clr>
            <a:srgbClr val="F26B43"/>
          </p15:clr>
        </p15:guide>
        <p15:guide id="3" pos="7402" userDrawn="1">
          <p15:clr>
            <a:srgbClr val="F26B43"/>
          </p15:clr>
        </p15:guide>
        <p15:guide id="6" orient="horz" pos="268" userDrawn="1">
          <p15:clr>
            <a:srgbClr val="F26B43"/>
          </p15:clr>
        </p15:guide>
        <p15:guide id="7" orient="horz" pos="3917" userDrawn="1">
          <p15:clr>
            <a:srgbClr val="F26B43"/>
          </p15:clr>
        </p15:guide>
        <p15:guide id="8" orient="horz" pos="1094" userDrawn="1">
          <p15:clr>
            <a:srgbClr val="F26B43"/>
          </p15:clr>
        </p15:guide>
        <p15:guide id="11" orient="horz" pos="2159" userDrawn="1">
          <p15:clr>
            <a:srgbClr val="F26B43"/>
          </p15:clr>
        </p15:guide>
        <p15:guide id="21" pos="2502" userDrawn="1">
          <p15:clr>
            <a:srgbClr val="F26B43"/>
          </p15:clr>
        </p15:guide>
        <p15:guide id="22" pos="2729" userDrawn="1">
          <p15:clr>
            <a:srgbClr val="F26B43"/>
          </p15:clr>
        </p15:guide>
        <p15:guide id="23" pos="3724" userDrawn="1">
          <p15:clr>
            <a:srgbClr val="F26B43"/>
          </p15:clr>
        </p15:guide>
        <p15:guide id="24" pos="3840" userDrawn="1">
          <p15:clr>
            <a:srgbClr val="F26B43"/>
          </p15:clr>
        </p15:guide>
        <p15:guide id="25" pos="3956" userDrawn="1">
          <p15:clr>
            <a:srgbClr val="F26B43"/>
          </p15:clr>
        </p15:guide>
        <p15:guide id="26" pos="4951" userDrawn="1">
          <p15:clr>
            <a:srgbClr val="F26B43"/>
          </p15:clr>
        </p15:guide>
        <p15:guide id="27" pos="5178" userDrawn="1">
          <p15:clr>
            <a:srgbClr val="F26B43"/>
          </p15:clr>
        </p15:guide>
        <p15:guide id="30" orient="horz" pos="95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47"/>
            </p:custDataLst>
            <p:extLst>
              <p:ext uri="{D42A27DB-BD31-4B8C-83A1-F6EECF244321}">
                <p14:modId xmlns:p14="http://schemas.microsoft.com/office/powerpoint/2010/main" val="1049895126"/>
              </p:ext>
            </p:extLst>
          </p:nvPr>
        </p:nvGraphicFramePr>
        <p:xfrm>
          <a:off x="1927" y="1408"/>
          <a:ext cx="1924" cy="14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9" imgW="415" imgH="416" progId="TCLayout.ActiveDocument.1">
                  <p:embed/>
                </p:oleObj>
              </mc:Choice>
              <mc:Fallback>
                <p:oleObj name="think-cell Slide" r:id="rId49" imgW="415" imgH="41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0"/>
                      <a:stretch>
                        <a:fillRect/>
                      </a:stretch>
                    </p:blipFill>
                    <p:spPr>
                      <a:xfrm>
                        <a:off x="1927" y="1408"/>
                        <a:ext cx="1924" cy="14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48"/>
            </p:custDataLst>
          </p:nvPr>
        </p:nvSpPr>
        <p:spPr>
          <a:xfrm>
            <a:off x="1" y="1"/>
            <a:ext cx="192424" cy="140075"/>
          </a:xfrm>
          <a:prstGeom prst="rect">
            <a:avLst/>
          </a:prstGeom>
          <a:solidFill>
            <a:srgbClr val="FFFFFF"/>
          </a:solidFill>
          <a:ln w="6350">
            <a:solidFill>
              <a:schemeClr val="tx1"/>
            </a:solidFill>
          </a:ln>
        </p:spPr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ZA" sz="2800" b="0" i="0" baseline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7674" y="452743"/>
            <a:ext cx="11301414" cy="73152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pPr lvl="0"/>
            <a:r>
              <a:rPr lang="en-ZA" noProof="0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18687" y="6484747"/>
            <a:ext cx="2028305" cy="10972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rtl="0">
              <a:defRPr lang="en-GB" sz="750" smtClean="0">
                <a:latin typeface="+mn-lt"/>
                <a:cs typeface="Arial" pitchFamily="34" charset="0"/>
              </a:defRPr>
            </a:lvl1pPr>
          </a:lstStyle>
          <a:p>
            <a:pPr algn="r"/>
            <a:fld id="{4D5A39AF-FEF5-47AB-AA80-4C0BD4A8B092}" type="slidenum">
              <a:rPr lang="en-ZA" smtClean="0"/>
              <a:pPr algn="r"/>
              <a:t>‹N°›</a:t>
            </a:fld>
            <a:endParaRPr lang="en-ZA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B2F6EABF-6A2E-4DCC-AB0D-6A1CC2987E1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47674" y="1670050"/>
            <a:ext cx="11301984" cy="454818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ZA" dirty="0"/>
              <a:t>Click to add text</a:t>
            </a:r>
          </a:p>
          <a:p>
            <a:pPr lvl="1"/>
            <a:r>
              <a:rPr lang="en-ZA" dirty="0"/>
              <a:t>Second level</a:t>
            </a:r>
          </a:p>
          <a:p>
            <a:pPr lvl="3"/>
            <a:r>
              <a:rPr lang="en-ZA" dirty="0"/>
              <a:t>Third level</a:t>
            </a:r>
          </a:p>
          <a:p>
            <a:pPr lvl="4"/>
            <a:r>
              <a:rPr lang="en-ZA" dirty="0"/>
              <a:t>Fourth level</a:t>
            </a:r>
          </a:p>
          <a:p>
            <a:pPr lvl="5"/>
            <a:r>
              <a:rPr lang="en-ZA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18170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  <p:sldLayoutId id="2147483834" r:id="rId3"/>
    <p:sldLayoutId id="2147483835" r:id="rId4"/>
    <p:sldLayoutId id="2147483836" r:id="rId5"/>
    <p:sldLayoutId id="2147483837" r:id="rId6"/>
    <p:sldLayoutId id="2147483838" r:id="rId7"/>
    <p:sldLayoutId id="2147483908" r:id="rId8"/>
    <p:sldLayoutId id="2147483909" r:id="rId9"/>
    <p:sldLayoutId id="2147483911" r:id="rId10"/>
    <p:sldLayoutId id="2147483914" r:id="rId11"/>
    <p:sldLayoutId id="2147483912" r:id="rId12"/>
    <p:sldLayoutId id="2147483913" r:id="rId13"/>
    <p:sldLayoutId id="2147483839" r:id="rId14"/>
    <p:sldLayoutId id="2147483840" r:id="rId15"/>
    <p:sldLayoutId id="2147483841" r:id="rId16"/>
    <p:sldLayoutId id="2147483842" r:id="rId17"/>
    <p:sldLayoutId id="2147483843" r:id="rId18"/>
    <p:sldLayoutId id="2147483844" r:id="rId19"/>
    <p:sldLayoutId id="2147483845" r:id="rId20"/>
    <p:sldLayoutId id="2147483846" r:id="rId21"/>
    <p:sldLayoutId id="2147483847" r:id="rId22"/>
    <p:sldLayoutId id="2147483848" r:id="rId23"/>
    <p:sldLayoutId id="2147483850" r:id="rId24"/>
    <p:sldLayoutId id="2147483851" r:id="rId25"/>
    <p:sldLayoutId id="2147483852" r:id="rId26"/>
    <p:sldLayoutId id="2147483854" r:id="rId27"/>
    <p:sldLayoutId id="2147483855" r:id="rId28"/>
    <p:sldLayoutId id="2147483856" r:id="rId29"/>
    <p:sldLayoutId id="2147483857" r:id="rId30"/>
    <p:sldLayoutId id="2147483858" r:id="rId31"/>
    <p:sldLayoutId id="2147483859" r:id="rId32"/>
    <p:sldLayoutId id="2147483860" r:id="rId33"/>
    <p:sldLayoutId id="2147483861" r:id="rId34"/>
    <p:sldLayoutId id="2147483862" r:id="rId35"/>
    <p:sldLayoutId id="2147483863" r:id="rId36"/>
    <p:sldLayoutId id="2147483866" r:id="rId37"/>
    <p:sldLayoutId id="2147483883" r:id="rId38"/>
    <p:sldLayoutId id="2147483868" r:id="rId39"/>
    <p:sldLayoutId id="2147483869" r:id="rId40"/>
    <p:sldLayoutId id="2147483910" r:id="rId41"/>
    <p:sldLayoutId id="2147483875" r:id="rId42"/>
    <p:sldLayoutId id="2147483877" r:id="rId43"/>
    <p:sldLayoutId id="2147483878" r:id="rId44"/>
    <p:sldLayoutId id="2147483919" r:id="rId45"/>
  </p:sldLayoutIdLst>
  <p:hf hdr="0" ftr="0" dt="0"/>
  <p:txStyles>
    <p:titleStyle>
      <a:lvl1pPr algn="l" defTabSz="898900" rtl="0" eaLnBrk="1" latinLnBrk="0" hangingPunct="1">
        <a:spcBef>
          <a:spcPct val="0"/>
        </a:spcBef>
        <a:buNone/>
        <a:defRPr lang="en-GB" sz="3200" b="0" i="0" kern="1200" baseline="0" noProof="0" dirty="0">
          <a:solidFill>
            <a:srgbClr val="1EC0EB"/>
          </a:solidFill>
          <a:latin typeface="+mj-lt"/>
          <a:ea typeface="+mj-ea"/>
          <a:cs typeface="+mj-cs"/>
        </a:defRPr>
      </a:lvl1pPr>
    </p:titleStyle>
    <p:bodyStyle>
      <a:lvl1pPr marL="0" marR="0" indent="0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None/>
        <a:tabLst/>
        <a:defRPr lang="en-GB" sz="1600" b="1" kern="1200" noProof="0" dirty="0" smtClean="0">
          <a:solidFill>
            <a:srgbClr val="224099"/>
          </a:solidFill>
          <a:latin typeface="+mn-lt"/>
          <a:ea typeface="+mn-ea"/>
          <a:cs typeface="+mn-cs"/>
        </a:defRPr>
      </a:lvl1pPr>
      <a:lvl2pPr marL="490537" marR="0" indent="-285750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i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6000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•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8032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Arial" panose="020B0604020202020204" pitchFamily="34" charset="0"/>
        <a:buChar char="–"/>
        <a:tabLst/>
        <a:defRPr lang="en-GB" sz="1600" b="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006475" marR="0" indent="-201613" algn="l" defTabSz="899210" rtl="0" eaLnBrk="1" fontAlgn="base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SzTx/>
        <a:buFont typeface="Georgia" panose="02040502050405020303" pitchFamily="18" charset="0"/>
        <a:buChar char="•"/>
        <a:tabLst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2096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141287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7pPr>
      <a:lvl8pPr marL="1635125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–"/>
        <a:defRPr lang="en-GB" sz="1600" b="0" kern="1200" baseline="0" noProof="0" dirty="0" smtClean="0">
          <a:solidFill>
            <a:schemeClr val="tx1"/>
          </a:solidFill>
          <a:latin typeface="+mn-lt"/>
          <a:ea typeface="+mn-ea"/>
          <a:cs typeface="+mn-cs"/>
        </a:defRPr>
      </a:lvl8pPr>
      <a:lvl9pPr marL="1847850" indent="-201613" algn="l" defTabSz="8989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Tx/>
        <a:buFont typeface="Arial" panose="020B0604020202020204" pitchFamily="34" charset="0"/>
        <a:buChar char="•"/>
        <a:defRPr lang="en-GB" sz="1600" b="0" kern="1200" baseline="0" noProof="0" dirty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49447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898900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48349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797798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47246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69669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146145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595593" algn="l" defTabSz="898900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281">
          <p15:clr>
            <a:srgbClr val="F26B43"/>
          </p15:clr>
        </p15:guide>
        <p15:guide id="3" pos="7402">
          <p15:clr>
            <a:srgbClr val="F26B43"/>
          </p15:clr>
        </p15:guide>
        <p15:guide id="6" orient="horz" pos="268">
          <p15:clr>
            <a:srgbClr val="F26B43"/>
          </p15:clr>
        </p15:guide>
        <p15:guide id="7" orient="horz" pos="3917">
          <p15:clr>
            <a:srgbClr val="F26B43"/>
          </p15:clr>
        </p15:guide>
        <p15:guide id="8" orient="horz" pos="1094">
          <p15:clr>
            <a:srgbClr val="F26B43"/>
          </p15:clr>
        </p15:guide>
        <p15:guide id="11" orient="horz" pos="2159">
          <p15:clr>
            <a:srgbClr val="F26B43"/>
          </p15:clr>
        </p15:guide>
        <p15:guide id="21" pos="2502">
          <p15:clr>
            <a:srgbClr val="F26B43"/>
          </p15:clr>
        </p15:guide>
        <p15:guide id="22" pos="2729">
          <p15:clr>
            <a:srgbClr val="F26B43"/>
          </p15:clr>
        </p15:guide>
        <p15:guide id="23" pos="3724">
          <p15:clr>
            <a:srgbClr val="F26B43"/>
          </p15:clr>
        </p15:guide>
        <p15:guide id="24" pos="3840">
          <p15:clr>
            <a:srgbClr val="F26B43"/>
          </p15:clr>
        </p15:guide>
        <p15:guide id="25" pos="3956">
          <p15:clr>
            <a:srgbClr val="F26B43"/>
          </p15:clr>
        </p15:guide>
        <p15:guide id="26" pos="4951">
          <p15:clr>
            <a:srgbClr val="F26B43"/>
          </p15:clr>
        </p15:guide>
        <p15:guide id="27" pos="5178">
          <p15:clr>
            <a:srgbClr val="F26B43"/>
          </p15:clr>
        </p15:guide>
        <p15:guide id="30" orient="horz" pos="95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25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svg"/><Relationship Id="rId13" Type="http://schemas.openxmlformats.org/officeDocument/2006/relationships/image" Target="../media/image40.png"/><Relationship Id="rId18" Type="http://schemas.openxmlformats.org/officeDocument/2006/relationships/image" Target="../media/image45.sv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12" Type="http://schemas.openxmlformats.org/officeDocument/2006/relationships/image" Target="../media/image39.svg"/><Relationship Id="rId17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6" Type="http://schemas.openxmlformats.org/officeDocument/2006/relationships/image" Target="../media/image43.svg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33.svg"/><Relationship Id="rId11" Type="http://schemas.openxmlformats.org/officeDocument/2006/relationships/image" Target="../media/image38.png"/><Relationship Id="rId5" Type="http://schemas.openxmlformats.org/officeDocument/2006/relationships/image" Target="../media/image32.png"/><Relationship Id="rId15" Type="http://schemas.openxmlformats.org/officeDocument/2006/relationships/image" Target="../media/image42.png"/><Relationship Id="rId10" Type="http://schemas.openxmlformats.org/officeDocument/2006/relationships/image" Target="../media/image37.svg"/><Relationship Id="rId19" Type="http://schemas.openxmlformats.org/officeDocument/2006/relationships/image" Target="../media/image25.png"/><Relationship Id="rId4" Type="http://schemas.openxmlformats.org/officeDocument/2006/relationships/image" Target="../media/image31.svg"/><Relationship Id="rId9" Type="http://schemas.openxmlformats.org/officeDocument/2006/relationships/image" Target="../media/image36.png"/><Relationship Id="rId14" Type="http://schemas.openxmlformats.org/officeDocument/2006/relationships/image" Target="../media/image41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8.xml"/><Relationship Id="rId4" Type="http://schemas.openxmlformats.org/officeDocument/2006/relationships/image" Target="../media/image25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svg"/><Relationship Id="rId3" Type="http://schemas.openxmlformats.org/officeDocument/2006/relationships/image" Target="../media/image47.png"/><Relationship Id="rId7" Type="http://schemas.openxmlformats.org/officeDocument/2006/relationships/image" Target="../media/image5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0.svg"/><Relationship Id="rId5" Type="http://schemas.openxmlformats.org/officeDocument/2006/relationships/image" Target="../media/image49.png"/><Relationship Id="rId4" Type="http://schemas.openxmlformats.org/officeDocument/2006/relationships/image" Target="../media/image48.svg"/><Relationship Id="rId9" Type="http://schemas.openxmlformats.org/officeDocument/2006/relationships/image" Target="../media/image2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3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3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7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18/10/relationships/comments" Target="../comments/modernComment_7FF64A63_51E7201F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5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3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3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5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image" Target="../media/image25.png"/><Relationship Id="rId7" Type="http://schemas.openxmlformats.org/officeDocument/2006/relationships/image" Target="../media/image5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8.xml"/><Relationship Id="rId6" Type="http://schemas.openxmlformats.org/officeDocument/2006/relationships/image" Target="../media/image57.png"/><Relationship Id="rId5" Type="http://schemas.openxmlformats.org/officeDocument/2006/relationships/image" Target="../media/image58.png"/><Relationship Id="rId4" Type="http://schemas.openxmlformats.org/officeDocument/2006/relationships/image" Target="../media/image56.png"/><Relationship Id="rId9" Type="http://schemas.openxmlformats.org/officeDocument/2006/relationships/image" Target="../media/image54.pn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93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3.png"/><Relationship Id="rId5" Type="http://schemas.openxmlformats.org/officeDocument/2006/relationships/image" Target="../media/image60.png"/><Relationship Id="rId4" Type="http://schemas.openxmlformats.org/officeDocument/2006/relationships/image" Target="../media/image59.png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png"/><Relationship Id="rId3" Type="http://schemas.openxmlformats.org/officeDocument/2006/relationships/image" Target="../media/image25.png"/><Relationship Id="rId7" Type="http://schemas.openxmlformats.org/officeDocument/2006/relationships/image" Target="../media/image5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55.png"/><Relationship Id="rId5" Type="http://schemas.openxmlformats.org/officeDocument/2006/relationships/image" Target="../media/image54.png"/><Relationship Id="rId4" Type="http://schemas.openxmlformats.org/officeDocument/2006/relationships/image" Target="../media/image53.png"/><Relationship Id="rId9" Type="http://schemas.openxmlformats.org/officeDocument/2006/relationships/image" Target="../media/image5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59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3" Type="http://schemas.openxmlformats.org/officeDocument/2006/relationships/image" Target="../media/image25.png"/><Relationship Id="rId7" Type="http://schemas.openxmlformats.org/officeDocument/2006/relationships/image" Target="../media/image64.sv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58.xml"/><Relationship Id="rId6" Type="http://schemas.openxmlformats.org/officeDocument/2006/relationships/image" Target="../media/image63.png"/><Relationship Id="rId11" Type="http://schemas.openxmlformats.org/officeDocument/2006/relationships/image" Target="../media/image68.svg"/><Relationship Id="rId5" Type="http://schemas.openxmlformats.org/officeDocument/2006/relationships/image" Target="../media/image62.svg"/><Relationship Id="rId10" Type="http://schemas.openxmlformats.org/officeDocument/2006/relationships/image" Target="../media/image67.png"/><Relationship Id="rId4" Type="http://schemas.openxmlformats.org/officeDocument/2006/relationships/image" Target="../media/image61.png"/><Relationship Id="rId9" Type="http://schemas.openxmlformats.org/officeDocument/2006/relationships/image" Target="../media/image66.sv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8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diagramColors" Target="../diagrams/colors1.xml"/><Relationship Id="rId3" Type="http://schemas.microsoft.com/office/2018/10/relationships/comments" Target="../comments/modernComment_7FF64AE8_B7A61C5F.xml"/><Relationship Id="rId7" Type="http://schemas.openxmlformats.org/officeDocument/2006/relationships/diagramQuickStyle" Target="../diagrams/quickStyle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8.xml"/><Relationship Id="rId6" Type="http://schemas.openxmlformats.org/officeDocument/2006/relationships/diagramLayout" Target="../diagrams/layout1.xml"/><Relationship Id="rId5" Type="http://schemas.openxmlformats.org/officeDocument/2006/relationships/diagramData" Target="../diagrams/data1.xml"/><Relationship Id="rId4" Type="http://schemas.openxmlformats.org/officeDocument/2006/relationships/image" Target="../media/image25.png"/><Relationship Id="rId9" Type="http://schemas.microsoft.com/office/2007/relationships/diagramDrawing" Target="../diagrams/drawing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93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5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69.png"/><Relationship Id="rId2" Type="http://schemas.openxmlformats.org/officeDocument/2006/relationships/audio" Target="../media/media1.m4a"/><Relationship Id="rId1" Type="http://schemas.microsoft.com/office/2007/relationships/media" Target="../media/media1.m4a"/><Relationship Id="rId6" Type="http://schemas.openxmlformats.org/officeDocument/2006/relationships/image" Target="../media/image57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2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69.png"/><Relationship Id="rId2" Type="http://schemas.openxmlformats.org/officeDocument/2006/relationships/audio" Target="../media/media2.m4a"/><Relationship Id="rId1" Type="http://schemas.microsoft.com/office/2007/relationships/media" Target="../media/media2.m4a"/><Relationship Id="rId6" Type="http://schemas.openxmlformats.org/officeDocument/2006/relationships/image" Target="../media/image54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23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8.xml"/><Relationship Id="rId7" Type="http://schemas.openxmlformats.org/officeDocument/2006/relationships/image" Target="../media/image69.png"/><Relationship Id="rId2" Type="http://schemas.openxmlformats.org/officeDocument/2006/relationships/audio" Target="../media/media3.m4a"/><Relationship Id="rId1" Type="http://schemas.microsoft.com/office/2007/relationships/media" Target="../media/media3.m4a"/><Relationship Id="rId6" Type="http://schemas.openxmlformats.org/officeDocument/2006/relationships/image" Target="../media/image55.png"/><Relationship Id="rId5" Type="http://schemas.openxmlformats.org/officeDocument/2006/relationships/image" Target="../media/image25.png"/><Relationship Id="rId4" Type="http://schemas.openxmlformats.org/officeDocument/2006/relationships/notesSlide" Target="../notesSlides/notesSlide2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8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ous-titre 1">
            <a:extLst>
              <a:ext uri="{FF2B5EF4-FFF2-40B4-BE49-F238E27FC236}">
                <a16:creationId xmlns:a16="http://schemas.microsoft.com/office/drawing/2014/main" id="{6FEE9F29-BF47-BCB8-994B-45C76AFF1F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2798" y="4188930"/>
            <a:ext cx="7024802" cy="630942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fr-FR" sz="2000" dirty="0"/>
              <a:t>CAMPUS 2023 – Amnesty International France</a:t>
            </a:r>
          </a:p>
          <a:p>
            <a:pPr>
              <a:spcAft>
                <a:spcPts val="600"/>
              </a:spcAft>
            </a:pPr>
            <a:r>
              <a:rPr lang="fr-FR" sz="2000" b="0" dirty="0"/>
              <a:t>23 septembre 2023</a:t>
            </a:r>
          </a:p>
        </p:txBody>
      </p:sp>
      <p:sp>
        <p:nvSpPr>
          <p:cNvPr id="3" name="Titre 2">
            <a:extLst>
              <a:ext uri="{FF2B5EF4-FFF2-40B4-BE49-F238E27FC236}">
                <a16:creationId xmlns:a16="http://schemas.microsoft.com/office/drawing/2014/main" id="{D6D9CFAF-81B8-1D07-A5E6-EFF1764D89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799" y="1922819"/>
            <a:ext cx="8850057" cy="2200911"/>
          </a:xfrm>
        </p:spPr>
        <p:txBody>
          <a:bodyPr/>
          <a:lstStyle/>
          <a:p>
            <a:r>
              <a:rPr lang="fr-FR" sz="4400" b="0" i="0" u="none" strike="noStrike" dirty="0">
                <a:solidFill>
                  <a:schemeClr val="bg1"/>
                </a:solidFill>
                <a:effectLst/>
              </a:rPr>
              <a:t>Comment parler </a:t>
            </a:r>
            <a:br>
              <a:rPr lang="fr-FR" sz="4400" b="0" i="0" u="none" strike="noStrike" dirty="0">
                <a:solidFill>
                  <a:schemeClr val="bg1"/>
                </a:solidFill>
                <a:effectLst/>
              </a:rPr>
            </a:br>
            <a:r>
              <a:rPr lang="fr-FR" sz="4400" b="0" i="0" u="none" strike="noStrike" dirty="0">
                <a:solidFill>
                  <a:schemeClr val="bg1"/>
                </a:solidFill>
                <a:effectLst/>
              </a:rPr>
              <a:t>des migrations ?</a:t>
            </a:r>
            <a:endParaRPr lang="fr-FR" sz="4400" dirty="0">
              <a:solidFill>
                <a:schemeClr val="bg1"/>
              </a:solidFill>
            </a:endParaRPr>
          </a:p>
        </p:txBody>
      </p:sp>
      <p:pic>
        <p:nvPicPr>
          <p:cNvPr id="9" name="Image 8" descr="Une image contenant texte, Police, jaune, symbole&#10;&#10;Description générée automatiquement">
            <a:extLst>
              <a:ext uri="{FF2B5EF4-FFF2-40B4-BE49-F238E27FC236}">
                <a16:creationId xmlns:a16="http://schemas.microsoft.com/office/drawing/2014/main" id="{AD45B144-D41F-77FA-FF39-A0C22B13A58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6093" y="549646"/>
            <a:ext cx="1860062" cy="688804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3A559C84-3ED7-0E6D-5753-7A0EC4C5F6AC}"/>
              </a:ext>
            </a:extLst>
          </p:cNvPr>
          <p:cNvSpPr/>
          <p:nvPr/>
        </p:nvSpPr>
        <p:spPr>
          <a:xfrm>
            <a:off x="4642339" y="549646"/>
            <a:ext cx="1860062" cy="688805"/>
          </a:xfrm>
          <a:prstGeom prst="rect">
            <a:avLst/>
          </a:prstGeom>
          <a:solidFill>
            <a:srgbClr val="FFFFF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pic>
        <p:nvPicPr>
          <p:cNvPr id="11" name="Image 10" descr="Une image contenant Police, Graphique, texte, capture d’écran&#10;&#10;Description générée automatiquement">
            <a:extLst>
              <a:ext uri="{FF2B5EF4-FFF2-40B4-BE49-F238E27FC236}">
                <a16:creationId xmlns:a16="http://schemas.microsoft.com/office/drawing/2014/main" id="{E85F6E84-97A8-2683-906D-A34AE0CC45A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06815" y="593272"/>
            <a:ext cx="1693985" cy="57810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601259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Synthèse des partages d’expérience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C935D06-2A1C-201E-54CF-6599B3019527}"/>
              </a:ext>
            </a:extLst>
          </p:cNvPr>
          <p:cNvSpPr txBox="1"/>
          <p:nvPr/>
        </p:nvSpPr>
        <p:spPr>
          <a:xfrm>
            <a:off x="445477" y="1665305"/>
            <a:ext cx="11351683" cy="544764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1400" b="1" noProof="0" dirty="0">
                <a:solidFill>
                  <a:srgbClr val="224099"/>
                </a:solidFill>
                <a:cs typeface="Arial" pitchFamily="34" charset="0"/>
              </a:rPr>
              <a:t>Les arguments les plus entendus par les militants et militantes lors de leurs actions publiques : 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Un enjeu autour des </a:t>
            </a:r>
            <a:r>
              <a:rPr lang="fr-FR" sz="1400" b="1" noProof="0" dirty="0">
                <a:solidFill>
                  <a:srgbClr val="224099"/>
                </a:solidFill>
                <a:cs typeface="Arial" pitchFamily="34" charset="0"/>
              </a:rPr>
              <a:t>termes, des mots</a:t>
            </a: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 : ne revêtent pas les mêmes réalités, les mêmes statuts juridiques et administratifs, mais aussi les mêmes imaginaires. </a:t>
            </a: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De manière générale, un vrai travail est fait pour déconstruire certains termes, le champ lexical critique utilisé pour parler des migrations (« vague », « tsunami »…). Aussi pour répondre à des éléments de langage qui reviennent souvent (« on ne peut pas accueillir toute la misère du monde ».)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Association de l’immigration au risque de terrorisme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La concurrence des publics : prioriser un public précaire vs. un autre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Comment accueillir ? Nécessite de se donner les moyens (ex : des places dans les écoles, dans les crèches etc…)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Flou, reconnaissance d’une méconnaissance sur l’impact des migrations sur la France. Face aux idées reçues et aux fausses informations, s</a:t>
            </a: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’appuie notamment sur le travail de </a:t>
            </a:r>
            <a:r>
              <a:rPr lang="fr-FR" sz="1400" noProof="0" dirty="0" err="1">
                <a:solidFill>
                  <a:srgbClr val="224099"/>
                </a:solidFill>
                <a:cs typeface="Arial" pitchFamily="34" charset="0"/>
              </a:rPr>
              <a:t>chiff</a:t>
            </a: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rage, d’information, d’institut de recherche tels que Convergences Migrations et </a:t>
            </a:r>
            <a:r>
              <a:rPr lang="fr-FR" sz="1400" dirty="0" err="1">
                <a:solidFill>
                  <a:srgbClr val="224099"/>
                </a:solidFill>
                <a:cs typeface="Arial" pitchFamily="34" charset="0"/>
              </a:rPr>
              <a:t>Désinfox</a:t>
            </a: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 Migrations. Pour travailler sur des idées reçues et des fausses informations.</a:t>
            </a:r>
            <a:endParaRPr lang="fr-FR" sz="1400" noProof="0" dirty="0">
              <a:solidFill>
                <a:srgbClr val="224099"/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fr-FR" sz="1400" b="1" dirty="0">
                <a:solidFill>
                  <a:srgbClr val="224099"/>
                </a:solidFill>
                <a:cs typeface="Arial" pitchFamily="34" charset="0"/>
              </a:rPr>
              <a:t>Les retours d’expérience plus positifs : </a:t>
            </a:r>
            <a:endParaRPr lang="fr-FR" sz="1400" b="1" noProof="0" dirty="0">
              <a:solidFill>
                <a:srgbClr val="224099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La guerre en Ukraine a fait évoluer certaines idées reçues. Une prise de conscience que l’on cherche d’abord à migrer au plus près de chez soi, dans les pays voisins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Reconnaissance du rôle des personnes migrantes dans les métiers du soin notamment.</a:t>
            </a:r>
            <a:endParaRPr lang="fr-FR" sz="1400" dirty="0">
              <a:solidFill>
                <a:srgbClr val="224099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Une partie de la France que l’on entend moins : celle qui est dans la solidarité du quotidien. Ex</a:t>
            </a:r>
            <a:r>
              <a:rPr lang="fr-FR" sz="1400" dirty="0" err="1">
                <a:solidFill>
                  <a:srgbClr val="224099"/>
                </a:solidFill>
                <a:cs typeface="Arial" pitchFamily="34" charset="0"/>
              </a:rPr>
              <a:t>périence</a:t>
            </a:r>
            <a:r>
              <a:rPr lang="fr-FR" sz="1400" dirty="0">
                <a:solidFill>
                  <a:srgbClr val="224099"/>
                </a:solidFill>
                <a:cs typeface="Arial" pitchFamily="34" charset="0"/>
              </a:rPr>
              <a:t> par exemple avec Utopia 56.</a:t>
            </a: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1400" dirty="0">
              <a:solidFill>
                <a:srgbClr val="224099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400" noProof="0" dirty="0">
                <a:solidFill>
                  <a:srgbClr val="224099"/>
                </a:solidFill>
                <a:cs typeface="Arial" pitchFamily="34" charset="0"/>
              </a:rPr>
              <a:t>Un dialogue qui se fait d’abord avec le public le plus convaincu par nos actions : lui qui vient à nos événements. Comment élargir notre action pour dialoguer avec un public plus distant de ces enjeux, moins informé sur le sujet ?</a:t>
            </a:r>
          </a:p>
          <a:p>
            <a:pPr>
              <a:spcAft>
                <a:spcPts val="600"/>
              </a:spcAft>
            </a:pPr>
            <a:endParaRPr lang="fr-FR" sz="1400" dirty="0">
              <a:solidFill>
                <a:srgbClr val="2240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4941476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Destin Commu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11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Que pouvons-nous apporter face à ce constat ?</a:t>
            </a:r>
          </a:p>
        </p:txBody>
      </p:sp>
    </p:spTree>
    <p:extLst>
      <p:ext uri="{BB962C8B-B14F-4D97-AF65-F5344CB8AC3E}">
        <p14:creationId xmlns:p14="http://schemas.microsoft.com/office/powerpoint/2010/main" val="29342516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24" y="564449"/>
            <a:ext cx="11306175" cy="841248"/>
          </a:xfrm>
        </p:spPr>
        <p:txBody>
          <a:bodyPr/>
          <a:lstStyle/>
          <a:p>
            <a:r>
              <a:rPr lang="fr-FR" dirty="0"/>
              <a:t>Une image vaut 1000 mots</a:t>
            </a:r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21FDA817-F47F-C2AE-73F5-31F0F0171C3A}"/>
              </a:ext>
            </a:extLst>
          </p:cNvPr>
          <p:cNvSpPr txBox="1"/>
          <p:nvPr/>
        </p:nvSpPr>
        <p:spPr>
          <a:xfrm>
            <a:off x="589722" y="1659478"/>
            <a:ext cx="11012555" cy="707886"/>
          </a:xfrm>
          <a:prstGeom prst="rect">
            <a:avLst/>
          </a:prstGeom>
          <a:solidFill>
            <a:schemeClr val="bg1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000" b="1" err="1">
                <a:latin typeface="Sailec" pitchFamily="2" charset="77"/>
              </a:rPr>
              <a:t>Selon</a:t>
            </a:r>
            <a:r>
              <a:rPr lang="en-US" sz="2000" b="1">
                <a:latin typeface="Sailec" pitchFamily="2" charset="77"/>
              </a:rPr>
              <a:t> </a:t>
            </a:r>
            <a:r>
              <a:rPr lang="en-US" sz="2000" b="1" err="1">
                <a:latin typeface="Sailec" pitchFamily="2" charset="77"/>
              </a:rPr>
              <a:t>une</a:t>
            </a:r>
            <a:r>
              <a:rPr lang="en-US" sz="2000" b="1">
                <a:latin typeface="Sailec" pitchFamily="2" charset="77"/>
              </a:rPr>
              <a:t> segmentation </a:t>
            </a:r>
            <a:r>
              <a:rPr lang="en-US" sz="2000" b="1" err="1">
                <a:latin typeface="Sailec" pitchFamily="2" charset="77"/>
              </a:rPr>
              <a:t>fondée</a:t>
            </a:r>
            <a:r>
              <a:rPr lang="en-US" sz="2000" b="1">
                <a:latin typeface="Sailec" pitchFamily="2" charset="77"/>
              </a:rPr>
              <a:t> </a:t>
            </a:r>
            <a:r>
              <a:rPr lang="en-US" sz="2000" b="1" err="1">
                <a:latin typeface="Sailec" pitchFamily="2" charset="77"/>
              </a:rPr>
              <a:t>uniquement</a:t>
            </a:r>
            <a:r>
              <a:rPr lang="en-US" sz="2000" b="1">
                <a:latin typeface="Sailec" pitchFamily="2" charset="77"/>
              </a:rPr>
              <a:t> sur des </a:t>
            </a:r>
            <a:r>
              <a:rPr lang="en-US" sz="2000" b="1" err="1">
                <a:latin typeface="Sailec" pitchFamily="2" charset="77"/>
              </a:rPr>
              <a:t>indicateurs</a:t>
            </a:r>
            <a:r>
              <a:rPr lang="en-US" sz="2000" b="1">
                <a:latin typeface="Sailec" pitchFamily="2" charset="77"/>
              </a:rPr>
              <a:t> </a:t>
            </a:r>
            <a:r>
              <a:rPr lang="en-US" sz="2000" b="1" err="1">
                <a:latin typeface="Sailec" pitchFamily="2" charset="77"/>
              </a:rPr>
              <a:t>démographiques</a:t>
            </a:r>
            <a:r>
              <a:rPr lang="en-US" sz="2000" b="1">
                <a:latin typeface="Sailec" pitchFamily="2" charset="77"/>
              </a:rPr>
              <a:t>, </a:t>
            </a:r>
            <a:endParaRPr lang="en-US" b="1">
              <a:latin typeface="Sailec" pitchFamily="2" charset="77"/>
            </a:endParaRPr>
          </a:p>
          <a:p>
            <a:pPr algn="ctr"/>
            <a:r>
              <a:rPr lang="en-US" sz="2000" b="1" err="1">
                <a:latin typeface="Sailec" pitchFamily="2" charset="77"/>
              </a:rPr>
              <a:t>ces</a:t>
            </a:r>
            <a:r>
              <a:rPr lang="en-US" sz="2000" b="1">
                <a:latin typeface="Sailec" pitchFamily="2" charset="77"/>
              </a:rPr>
              <a:t> deux </a:t>
            </a:r>
            <a:r>
              <a:rPr lang="en-US" sz="2000" b="1" err="1">
                <a:latin typeface="Sailec" pitchFamily="2" charset="77"/>
              </a:rPr>
              <a:t>personnes</a:t>
            </a:r>
            <a:r>
              <a:rPr lang="en-US" sz="2000" b="1">
                <a:latin typeface="Sailec" pitchFamily="2" charset="77"/>
              </a:rPr>
              <a:t> </a:t>
            </a:r>
            <a:r>
              <a:rPr lang="en-US" sz="2000" b="1" err="1">
                <a:latin typeface="Sailec" pitchFamily="2" charset="77"/>
              </a:rPr>
              <a:t>seraient</a:t>
            </a:r>
            <a:r>
              <a:rPr lang="en-US" sz="2000" b="1">
                <a:latin typeface="Sailec" pitchFamily="2" charset="77"/>
              </a:rPr>
              <a:t> dans la </a:t>
            </a:r>
            <a:r>
              <a:rPr lang="en-US" sz="2000" b="1" err="1">
                <a:latin typeface="Sailec" pitchFamily="2" charset="77"/>
              </a:rPr>
              <a:t>même</a:t>
            </a:r>
            <a:r>
              <a:rPr lang="en-US" sz="2000" b="1">
                <a:latin typeface="Sailec" pitchFamily="2" charset="77"/>
              </a:rPr>
              <a:t> audience </a:t>
            </a:r>
            <a:r>
              <a:rPr lang="en-US" sz="2000" b="1" err="1">
                <a:latin typeface="Sailec" pitchFamily="2" charset="77"/>
              </a:rPr>
              <a:t>cible</a:t>
            </a:r>
            <a:r>
              <a:rPr lang="en-US" sz="2000" b="1">
                <a:latin typeface="Sailec" pitchFamily="2" charset="77"/>
              </a:rPr>
              <a:t>... A </a:t>
            </a:r>
            <a:r>
              <a:rPr lang="en-US" sz="2000" b="1" err="1">
                <a:latin typeface="Sailec" pitchFamily="2" charset="77"/>
              </a:rPr>
              <a:t>méditer</a:t>
            </a:r>
            <a:r>
              <a:rPr lang="en-US" sz="2000" b="1">
                <a:latin typeface="Sailec" pitchFamily="2" charset="77"/>
              </a:rPr>
              <a:t> !</a:t>
            </a:r>
            <a:endParaRPr lang="en-US" b="1">
              <a:latin typeface="Sailec" pitchFamily="2" charset="77"/>
            </a:endParaRP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16B4C308-FC0D-F00C-67B5-E3D8956E7F90}"/>
              </a:ext>
            </a:extLst>
          </p:cNvPr>
          <p:cNvSpPr txBox="1"/>
          <p:nvPr/>
        </p:nvSpPr>
        <p:spPr>
          <a:xfrm>
            <a:off x="2543207" y="4278991"/>
            <a:ext cx="3409913" cy="2607124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br>
              <a:rPr lang="fr-FR" sz="1800" b="1" i="0" u="none" strike="noStrike" dirty="0">
                <a:effectLst/>
                <a:latin typeface="Sailec" pitchFamily="2" charset="77"/>
              </a:rPr>
            </a:br>
            <a:r>
              <a:rPr lang="fr-FR" sz="1800" b="1" i="0" u="none" strike="noStrike" dirty="0">
                <a:solidFill>
                  <a:srgbClr val="01091D"/>
                </a:solidFill>
                <a:effectLst/>
                <a:latin typeface="Sailec"/>
              </a:rPr>
              <a:t>Charles III</a:t>
            </a:r>
            <a:endParaRPr lang="fr-FR" b="0" i="0" u="none" strike="noStrike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Homme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Né en 1948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A grandi en Angleterre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Marié deux fois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Vit dans un château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/>
              </a:rPr>
              <a:t>Riche et connu</a:t>
            </a:r>
            <a:br>
              <a:rPr lang="fr-FR" dirty="0">
                <a:latin typeface="Sailec" pitchFamily="2" charset="77"/>
              </a:rPr>
            </a:br>
            <a:br>
              <a:rPr lang="fr-FR" dirty="0">
                <a:latin typeface="Sailec" pitchFamily="2" charset="77"/>
              </a:rPr>
            </a:br>
            <a:endParaRPr lang="fr-FR" dirty="0">
              <a:latin typeface="Sailec" pitchFamily="2" charset="77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A552A52-731A-61F3-2ACD-C8898D7D04AB}"/>
              </a:ext>
            </a:extLst>
          </p:cNvPr>
          <p:cNvSpPr txBox="1"/>
          <p:nvPr/>
        </p:nvSpPr>
        <p:spPr>
          <a:xfrm>
            <a:off x="6290135" y="4516056"/>
            <a:ext cx="3080156" cy="203132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1" i="0" u="none" strike="noStrike" dirty="0" err="1">
                <a:solidFill>
                  <a:srgbClr val="01091D"/>
                </a:solidFill>
                <a:effectLst/>
                <a:latin typeface="Sailec" pitchFamily="2" charset="77"/>
              </a:rPr>
              <a:t>Ozzy</a:t>
            </a:r>
            <a:r>
              <a:rPr lang="fr-FR" sz="1800" b="1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 Osbourne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Homme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Né en 1948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A grandi en Angleterre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Marié deux fois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Vit dans un château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  <a:p>
            <a:pPr algn="ctr" rtl="0">
              <a:spcBef>
                <a:spcPts val="0"/>
              </a:spcBef>
              <a:spcAft>
                <a:spcPts val="0"/>
              </a:spcAft>
            </a:pPr>
            <a:r>
              <a:rPr lang="fr-FR" sz="1800" b="0" i="0" u="none" strike="noStrike" dirty="0">
                <a:solidFill>
                  <a:srgbClr val="01091D"/>
                </a:solidFill>
                <a:effectLst/>
                <a:latin typeface="Sailec" pitchFamily="2" charset="77"/>
              </a:rPr>
              <a:t>Riche et connu</a:t>
            </a:r>
            <a:endParaRPr lang="fr-FR" b="0" i="0" u="none" strike="noStrike" dirty="0">
              <a:solidFill>
                <a:srgbClr val="000000"/>
              </a:solidFill>
              <a:effectLst/>
              <a:latin typeface="Sailec" pitchFamily="2" charset="77"/>
            </a:endParaRPr>
          </a:p>
        </p:txBody>
      </p:sp>
      <p:pic>
        <p:nvPicPr>
          <p:cNvPr id="13" name="Picture 4">
            <a:extLst>
              <a:ext uri="{FF2B5EF4-FFF2-40B4-BE49-F238E27FC236}">
                <a16:creationId xmlns:a16="http://schemas.microsoft.com/office/drawing/2014/main" id="{D92E1D1E-B1C9-427C-35FD-7E5E8BE7387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332" t="21851" r="64004" b="42012"/>
          <a:stretch/>
        </p:blipFill>
        <p:spPr>
          <a:xfrm>
            <a:off x="3313409" y="2626155"/>
            <a:ext cx="1872146" cy="1740994"/>
          </a:xfrm>
          <a:prstGeom prst="rect">
            <a:avLst/>
          </a:prstGeom>
        </p:spPr>
      </p:pic>
      <p:pic>
        <p:nvPicPr>
          <p:cNvPr id="14" name="Picture 4">
            <a:extLst>
              <a:ext uri="{FF2B5EF4-FFF2-40B4-BE49-F238E27FC236}">
                <a16:creationId xmlns:a16="http://schemas.microsoft.com/office/drawing/2014/main" id="{C6661933-7721-8FD2-86D9-85628A6411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0064" t="21482" r="8830" b="40720"/>
          <a:stretch/>
        </p:blipFill>
        <p:spPr>
          <a:xfrm>
            <a:off x="6827988" y="2626155"/>
            <a:ext cx="1948459" cy="1807395"/>
          </a:xfrm>
          <a:prstGeom prst="rect">
            <a:avLst/>
          </a:prstGeom>
        </p:spPr>
      </p:pic>
      <p:pic>
        <p:nvPicPr>
          <p:cNvPr id="2" name="Image 1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451FD6E8-BF32-DCF5-B211-4DE096824642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268188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303862"/>
            <a:ext cx="11306175" cy="841248"/>
          </a:xfrm>
        </p:spPr>
        <p:txBody>
          <a:bodyPr/>
          <a:lstStyle/>
          <a:p>
            <a:r>
              <a:rPr lang="fr-FR" dirty="0"/>
              <a:t>Les systèmes de valeurs pour mieux comprendre </a:t>
            </a:r>
            <a:br>
              <a:rPr lang="fr-FR" dirty="0"/>
            </a:br>
            <a:r>
              <a:rPr lang="fr-FR" dirty="0"/>
              <a:t>les différences d’opinions entre les Français</a:t>
            </a:r>
          </a:p>
        </p:txBody>
      </p:sp>
      <p:pic>
        <p:nvPicPr>
          <p:cNvPr id="2" name="Graphique 1" descr="Groupe de personnes avec un remplissage uni">
            <a:extLst>
              <a:ext uri="{FF2B5EF4-FFF2-40B4-BE49-F238E27FC236}">
                <a16:creationId xmlns:a16="http://schemas.microsoft.com/office/drawing/2014/main" id="{CF1610B3-D6A4-935A-46FD-C1E66FF4A2A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18542" y="1772520"/>
            <a:ext cx="1083530" cy="1083530"/>
          </a:xfrm>
          <a:prstGeom prst="rect">
            <a:avLst/>
          </a:prstGeom>
        </p:spPr>
      </p:pic>
      <p:pic>
        <p:nvPicPr>
          <p:cNvPr id="3" name="Graphique 2" descr="Avertissement avec un remplissage uni">
            <a:extLst>
              <a:ext uri="{FF2B5EF4-FFF2-40B4-BE49-F238E27FC236}">
                <a16:creationId xmlns:a16="http://schemas.microsoft.com/office/drawing/2014/main" id="{B2FABBAF-25A9-C5D3-8949-B4A7E2AE7B4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7470994" y="4265103"/>
            <a:ext cx="829290" cy="829290"/>
          </a:xfrm>
          <a:prstGeom prst="rect">
            <a:avLst/>
          </a:prstGeom>
        </p:spPr>
      </p:pic>
      <p:pic>
        <p:nvPicPr>
          <p:cNvPr id="4" name="Graphique 3" descr="Visage au large sourire avec remplissage solide avec un remplissage uni">
            <a:extLst>
              <a:ext uri="{FF2B5EF4-FFF2-40B4-BE49-F238E27FC236}">
                <a16:creationId xmlns:a16="http://schemas.microsoft.com/office/drawing/2014/main" id="{AE1A9BB7-9292-B9CD-D01D-08F72C8BCCE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335405" y="4288556"/>
            <a:ext cx="805835" cy="805835"/>
          </a:xfrm>
          <a:prstGeom prst="rect">
            <a:avLst/>
          </a:prstGeom>
        </p:spPr>
      </p:pic>
      <p:pic>
        <p:nvPicPr>
          <p:cNvPr id="5" name="Graphique 4" descr="Marionnette avec un remplissage uni">
            <a:extLst>
              <a:ext uri="{FF2B5EF4-FFF2-40B4-BE49-F238E27FC236}">
                <a16:creationId xmlns:a16="http://schemas.microsoft.com/office/drawing/2014/main" id="{43CB710B-93E8-AAD2-71DC-3CD3172D07A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444478" y="4265103"/>
            <a:ext cx="829288" cy="829288"/>
          </a:xfrm>
          <a:prstGeom prst="rect">
            <a:avLst/>
          </a:prstGeom>
        </p:spPr>
      </p:pic>
      <p:pic>
        <p:nvPicPr>
          <p:cNvPr id="6" name="Graphique 5" descr="Balance de la justice avec un remplissage uni">
            <a:extLst>
              <a:ext uri="{FF2B5EF4-FFF2-40B4-BE49-F238E27FC236}">
                <a16:creationId xmlns:a16="http://schemas.microsoft.com/office/drawing/2014/main" id="{64D6638F-D657-42D4-6ECB-28983375B9B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444476" y="1866362"/>
            <a:ext cx="829290" cy="829290"/>
          </a:xfrm>
          <a:prstGeom prst="rect">
            <a:avLst/>
          </a:prstGeom>
        </p:spPr>
      </p:pic>
      <p:pic>
        <p:nvPicPr>
          <p:cNvPr id="7" name="Graphique 6" descr="Bras musclé avec un remplissage uni">
            <a:extLst>
              <a:ext uri="{FF2B5EF4-FFF2-40B4-BE49-F238E27FC236}">
                <a16:creationId xmlns:a16="http://schemas.microsoft.com/office/drawing/2014/main" id="{B939F257-3D15-CD5B-0C37-4D1B37612FF3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470992" y="1788500"/>
            <a:ext cx="829292" cy="829292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D4ED152-EAC3-BB8E-CD30-E55DE6EED127}"/>
              </a:ext>
            </a:extLst>
          </p:cNvPr>
          <p:cNvSpPr/>
          <p:nvPr/>
        </p:nvSpPr>
        <p:spPr>
          <a:xfrm>
            <a:off x="693401" y="2889336"/>
            <a:ext cx="213381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es appartenances </a:t>
            </a:r>
          </a:p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de groupe</a:t>
            </a:r>
            <a:endParaRPr lang="en-US" sz="1800" b="1" dirty="0">
              <a:solidFill>
                <a:srgbClr val="224099"/>
              </a:solidFill>
              <a:latin typeface="Sailec Light" pitchFamily="2" charset="77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57C722-96DB-0BD3-F441-49AD6C8E6DC3}"/>
              </a:ext>
            </a:extLst>
          </p:cNvPr>
          <p:cNvSpPr/>
          <p:nvPr/>
        </p:nvSpPr>
        <p:spPr>
          <a:xfrm>
            <a:off x="6818732" y="2886826"/>
            <a:ext cx="21338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a prédisposition autoritaire 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BD339563-2082-2B51-0CFD-0712A3E56A09}"/>
              </a:ext>
            </a:extLst>
          </p:cNvPr>
          <p:cNvSpPr/>
          <p:nvPr/>
        </p:nvSpPr>
        <p:spPr>
          <a:xfrm>
            <a:off x="693401" y="5253030"/>
            <a:ext cx="21338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’optimisme et le pessimisme 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CA8A5CE-CEC2-A0D6-48B1-DEE242AD8C37}"/>
              </a:ext>
            </a:extLst>
          </p:cNvPr>
          <p:cNvSpPr/>
          <p:nvPr/>
        </p:nvSpPr>
        <p:spPr>
          <a:xfrm>
            <a:off x="3404898" y="5253030"/>
            <a:ext cx="2853220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’agentivité et la responsabilité individuelle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314C214-6EAF-55C5-1A22-709C1F4C9813}"/>
              </a:ext>
            </a:extLst>
          </p:cNvPr>
          <p:cNvSpPr/>
          <p:nvPr/>
        </p:nvSpPr>
        <p:spPr>
          <a:xfrm>
            <a:off x="6818732" y="5237559"/>
            <a:ext cx="2133811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a perception de la menac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D242AC0-14AE-B74F-064F-4D07DD43B932}"/>
              </a:ext>
            </a:extLst>
          </p:cNvPr>
          <p:cNvSpPr/>
          <p:nvPr/>
        </p:nvSpPr>
        <p:spPr>
          <a:xfrm>
            <a:off x="3314839" y="2871438"/>
            <a:ext cx="2943279" cy="677108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es fondements moraux </a:t>
            </a:r>
          </a:p>
          <a:p>
            <a:pPr algn="ctr"/>
            <a:r>
              <a:rPr lang="fr-FR" sz="1000" b="1" dirty="0">
                <a:solidFill>
                  <a:srgbClr val="224099"/>
                </a:solidFill>
                <a:latin typeface="Sailec Light" pitchFamily="2" charset="77"/>
              </a:rPr>
              <a:t>(</a:t>
            </a:r>
            <a:r>
              <a:rPr lang="fr-FR" sz="1000" b="1" dirty="0" err="1">
                <a:solidFill>
                  <a:srgbClr val="224099"/>
                </a:solidFill>
                <a:latin typeface="Sailec Light" pitchFamily="2" charset="77"/>
              </a:rPr>
              <a:t>cf</a:t>
            </a:r>
            <a:r>
              <a:rPr lang="fr-FR" sz="1000" b="1" dirty="0">
                <a:solidFill>
                  <a:srgbClr val="224099"/>
                </a:solidFill>
                <a:latin typeface="Sailec Light" pitchFamily="2" charset="77"/>
              </a:rPr>
              <a:t> J. </a:t>
            </a:r>
            <a:r>
              <a:rPr lang="fr-FR" sz="1000" b="1" dirty="0" err="1">
                <a:solidFill>
                  <a:srgbClr val="224099"/>
                </a:solidFill>
                <a:latin typeface="Sailec Light" pitchFamily="2" charset="77"/>
              </a:rPr>
              <a:t>Haidt</a:t>
            </a:r>
            <a:r>
              <a:rPr lang="fr-FR" sz="1000" b="1" dirty="0">
                <a:solidFill>
                  <a:srgbClr val="224099"/>
                </a:solidFill>
                <a:latin typeface="Sailec Light" pitchFamily="2" charset="77"/>
              </a:rPr>
              <a:t>) : équité, bienveillance, pureté, loyauté, autorité</a:t>
            </a:r>
            <a:endParaRPr lang="en-US" sz="1800" b="1" dirty="0">
              <a:solidFill>
                <a:srgbClr val="224099"/>
              </a:solidFill>
              <a:latin typeface="Sailec Light" pitchFamily="2" charset="77"/>
            </a:endParaRPr>
          </a:p>
        </p:txBody>
      </p:sp>
      <p:pic>
        <p:nvPicPr>
          <p:cNvPr id="16" name="Graphic 5" descr="Clenched Fist with solid fill">
            <a:extLst>
              <a:ext uri="{FF2B5EF4-FFF2-40B4-BE49-F238E27FC236}">
                <a16:creationId xmlns:a16="http://schemas.microsoft.com/office/drawing/2014/main" id="{274C105C-B38E-D725-DF3D-D5CBACC4B408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140299" y="1859218"/>
            <a:ext cx="788781" cy="836434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81EF3CAE-A3B2-E034-C2F6-E0BA4208FE95}"/>
              </a:ext>
            </a:extLst>
          </p:cNvPr>
          <p:cNvSpPr/>
          <p:nvPr/>
        </p:nvSpPr>
        <p:spPr>
          <a:xfrm>
            <a:off x="9320294" y="2855601"/>
            <a:ext cx="2428793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 pitchFamily="2" charset="77"/>
              </a:rPr>
              <a:t>Le niveau d’engagement politique et civique</a:t>
            </a:r>
          </a:p>
        </p:txBody>
      </p:sp>
      <p:pic>
        <p:nvPicPr>
          <p:cNvPr id="18" name="Graphic 7" descr="Move with solid fill">
            <a:extLst>
              <a:ext uri="{FF2B5EF4-FFF2-40B4-BE49-F238E27FC236}">
                <a16:creationId xmlns:a16="http://schemas.microsoft.com/office/drawing/2014/main" id="{D4826E02-68A4-277E-83BA-7548C12277E5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203172" y="4234123"/>
            <a:ext cx="800696" cy="860268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2E1E16F9-25B6-9E02-4859-60513073FEDE}"/>
              </a:ext>
            </a:extLst>
          </p:cNvPr>
          <p:cNvSpPr/>
          <p:nvPr/>
        </p:nvSpPr>
        <p:spPr>
          <a:xfrm>
            <a:off x="9536614" y="5237559"/>
            <a:ext cx="2133811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fr-FR" sz="1800" b="1" dirty="0">
                <a:solidFill>
                  <a:srgbClr val="224099"/>
                </a:solidFill>
                <a:latin typeface="Sailec Light"/>
              </a:rPr>
              <a:t>Sensibilité au changement culturel</a:t>
            </a:r>
            <a:endParaRPr lang="en-US" sz="1050" b="1" dirty="0">
              <a:solidFill>
                <a:srgbClr val="224099"/>
              </a:solidFill>
            </a:endParaRPr>
          </a:p>
        </p:txBody>
      </p:sp>
      <p:pic>
        <p:nvPicPr>
          <p:cNvPr id="20" name="Image 1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5CB7BBFD-DE05-8531-9BFF-A3F4B461CDE2}"/>
              </a:ext>
            </a:extLst>
          </p:cNvPr>
          <p:cNvPicPr>
            <a:picLocks noChangeAspect="1"/>
          </p:cNvPicPr>
          <p:nvPr/>
        </p:nvPicPr>
        <p:blipFill rotWithShape="1"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6038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505568"/>
            <a:ext cx="11306175" cy="841248"/>
          </a:xfrm>
        </p:spPr>
        <p:txBody>
          <a:bodyPr/>
          <a:lstStyle/>
          <a:p>
            <a:r>
              <a:rPr lang="fr-FR" dirty="0"/>
              <a:t>Six familles de valeurs dans la société française</a:t>
            </a:r>
          </a:p>
        </p:txBody>
      </p:sp>
      <p:pic>
        <p:nvPicPr>
          <p:cNvPr id="20" name="Image 19" descr="Une image contenant graphique&#10;&#10;Description générée automatiquement">
            <a:extLst>
              <a:ext uri="{FF2B5EF4-FFF2-40B4-BE49-F238E27FC236}">
                <a16:creationId xmlns:a16="http://schemas.microsoft.com/office/drawing/2014/main" id="{9569BC48-1881-5F34-5CA3-12FFFF58128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5482"/>
          <a:stretch/>
        </p:blipFill>
        <p:spPr>
          <a:xfrm>
            <a:off x="1265927" y="1632289"/>
            <a:ext cx="9660146" cy="5225711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BBE5816C-1A54-3592-A29C-A851B1AB9FEB}"/>
              </a:ext>
            </a:extLst>
          </p:cNvPr>
          <p:cNvSpPr/>
          <p:nvPr/>
        </p:nvSpPr>
        <p:spPr>
          <a:xfrm>
            <a:off x="4123112" y="3030736"/>
            <a:ext cx="296487" cy="2294312"/>
          </a:xfrm>
          <a:prstGeom prst="rect">
            <a:avLst/>
          </a:prstGeom>
          <a:solidFill>
            <a:srgbClr val="94829F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600" b="1" dirty="0"/>
          </a:p>
        </p:txBody>
      </p:sp>
      <p:sp>
        <p:nvSpPr>
          <p:cNvPr id="3" name="ZoneTexte 2">
            <a:extLst>
              <a:ext uri="{FF2B5EF4-FFF2-40B4-BE49-F238E27FC236}">
                <a16:creationId xmlns:a16="http://schemas.microsoft.com/office/drawing/2014/main" id="{EE1BB114-1EFA-D5E9-8FE5-B678FEB7373D}"/>
              </a:ext>
            </a:extLst>
          </p:cNvPr>
          <p:cNvSpPr txBox="1"/>
          <p:nvPr/>
        </p:nvSpPr>
        <p:spPr>
          <a:xfrm>
            <a:off x="4156363" y="4546168"/>
            <a:ext cx="382385" cy="1846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200" b="1" noProof="0" dirty="0">
                <a:solidFill>
                  <a:schemeClr val="tx1"/>
                </a:solidFill>
                <a:cs typeface="Arial" pitchFamily="34" charset="0"/>
              </a:rPr>
              <a:t>16%</a:t>
            </a:r>
          </a:p>
        </p:txBody>
      </p:sp>
      <p:pic>
        <p:nvPicPr>
          <p:cNvPr id="4" name="Image 3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9E1A982D-33A2-D27A-9086-887201F1B34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35372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7124" y="564449"/>
            <a:ext cx="11306175" cy="841248"/>
          </a:xfrm>
        </p:spPr>
        <p:txBody>
          <a:bodyPr/>
          <a:lstStyle/>
          <a:p>
            <a:r>
              <a:rPr lang="fr-FR" dirty="0"/>
              <a:t>*** Des points de vigilance *** </a:t>
            </a:r>
          </a:p>
        </p:txBody>
      </p:sp>
      <p:sp>
        <p:nvSpPr>
          <p:cNvPr id="2" name="TextBox 2">
            <a:extLst>
              <a:ext uri="{FF2B5EF4-FFF2-40B4-BE49-F238E27FC236}">
                <a16:creationId xmlns:a16="http://schemas.microsoft.com/office/drawing/2014/main" id="{CAB7E9EC-B173-4FD2-386A-DD28B5B0E6A8}"/>
              </a:ext>
            </a:extLst>
          </p:cNvPr>
          <p:cNvSpPr txBox="1"/>
          <p:nvPr/>
        </p:nvSpPr>
        <p:spPr>
          <a:xfrm>
            <a:off x="2265528" y="1970146"/>
            <a:ext cx="9551334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fr-FR" sz="2000" b="1" dirty="0">
                <a:solidFill>
                  <a:srgbClr val="224099"/>
                </a:solidFill>
                <a:latin typeface="Sailec" pitchFamily="2" charset="77"/>
              </a:rPr>
              <a:t>Les segments ne sont pas des groupes sanguins </a:t>
            </a:r>
            <a:r>
              <a:rPr lang="fr-FR" sz="2000" dirty="0">
                <a:solidFill>
                  <a:srgbClr val="224099"/>
                </a:solidFill>
                <a:latin typeface="Sailec" pitchFamily="2" charset="77"/>
              </a:rPr>
              <a:t>: il s’agit avant tout de personnes, qui peuvent évoluer, ou se situer entre deux groupes selon les sujets. Les segments n’épuisent pas la grande complexité de l’âme humaine !</a:t>
            </a:r>
          </a:p>
        </p:txBody>
      </p:sp>
      <p:pic>
        <p:nvPicPr>
          <p:cNvPr id="4" name="Graphique 3" descr="Seringue avec un remplissage uni">
            <a:extLst>
              <a:ext uri="{FF2B5EF4-FFF2-40B4-BE49-F238E27FC236}">
                <a16:creationId xmlns:a16="http://schemas.microsoft.com/office/drawing/2014/main" id="{95A198DE-8364-5782-5A0D-C86C67CE6A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8872" y="1970146"/>
            <a:ext cx="914400" cy="914400"/>
          </a:xfrm>
          <a:prstGeom prst="rect">
            <a:avLst/>
          </a:prstGeom>
        </p:spPr>
      </p:pic>
      <p:pic>
        <p:nvPicPr>
          <p:cNvPr id="5" name="Graphique 4" descr="Graphique à barres avec un remplissage uni">
            <a:extLst>
              <a:ext uri="{FF2B5EF4-FFF2-40B4-BE49-F238E27FC236}">
                <a16:creationId xmlns:a16="http://schemas.microsoft.com/office/drawing/2014/main" id="{1EC37BED-34F2-EF52-0137-ECAFCDE9D5B6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8872" y="3407663"/>
            <a:ext cx="914400" cy="914400"/>
          </a:xfrm>
          <a:prstGeom prst="rect">
            <a:avLst/>
          </a:prstGeom>
        </p:spPr>
      </p:pic>
      <p:pic>
        <p:nvPicPr>
          <p:cNvPr id="7" name="Graphique 6" descr="Homme avec enfant avec un remplissage uni">
            <a:extLst>
              <a:ext uri="{FF2B5EF4-FFF2-40B4-BE49-F238E27FC236}">
                <a16:creationId xmlns:a16="http://schemas.microsoft.com/office/drawing/2014/main" id="{7371C4A9-25FF-66FB-2067-C8C989B8160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78872" y="5347256"/>
            <a:ext cx="914400" cy="914400"/>
          </a:xfrm>
          <a:prstGeom prst="rect">
            <a:avLst/>
          </a:prstGeom>
        </p:spPr>
      </p:pic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6" name="ZoneTexte 5">
            <a:extLst>
              <a:ext uri="{FF2B5EF4-FFF2-40B4-BE49-F238E27FC236}">
                <a16:creationId xmlns:a16="http://schemas.microsoft.com/office/drawing/2014/main" id="{F4FB5EA7-CEED-4047-BEBF-7D0C7B0B890E}"/>
              </a:ext>
            </a:extLst>
          </p:cNvPr>
          <p:cNvSpPr txBox="1"/>
          <p:nvPr/>
        </p:nvSpPr>
        <p:spPr>
          <a:xfrm>
            <a:off x="2265528" y="3214941"/>
            <a:ext cx="9457771" cy="1477328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fr-FR" sz="2000" b="1" dirty="0">
                <a:solidFill>
                  <a:srgbClr val="224099"/>
                </a:solidFill>
                <a:latin typeface="Sailec" pitchFamily="2" charset="77"/>
              </a:rPr>
              <a:t>Les indicateurs psycho-sociaux ne sont pas exclusifs des indicateurs socio-démographiques et politiques</a:t>
            </a:r>
            <a:r>
              <a:rPr lang="fr-FR" sz="2000" dirty="0">
                <a:solidFill>
                  <a:srgbClr val="224099"/>
                </a:solidFill>
                <a:latin typeface="Sailec" pitchFamily="2" charset="77"/>
              </a:rPr>
              <a:t>, mais plutôt complémentaires dans l’analyse. Ils permettent de caractériser plus nettement certains groupes, de donner des compléments d’explications à certains phénomènes, et de mieux identifier les tonalités ou messagers pertinents.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333111F4-68FB-69AA-0740-CE139CF2C7BC}"/>
              </a:ext>
            </a:extLst>
          </p:cNvPr>
          <p:cNvSpPr txBox="1"/>
          <p:nvPr/>
        </p:nvSpPr>
        <p:spPr>
          <a:xfrm>
            <a:off x="2265528" y="5290732"/>
            <a:ext cx="9457770" cy="1200329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spcAft>
                <a:spcPts val="400"/>
              </a:spcAft>
            </a:pPr>
            <a:r>
              <a:rPr lang="fr-FR" sz="2000" b="1" dirty="0">
                <a:solidFill>
                  <a:srgbClr val="224099"/>
                </a:solidFill>
                <a:latin typeface="Sailec" pitchFamily="2" charset="77"/>
              </a:rPr>
              <a:t>Les profils selon la psychologie sociale sont le produit d’un mélange d’inné et d’acquis. </a:t>
            </a:r>
            <a:r>
              <a:rPr lang="fr-FR" sz="2000" dirty="0">
                <a:solidFill>
                  <a:srgbClr val="224099"/>
                </a:solidFill>
                <a:latin typeface="Sailec" pitchFamily="2" charset="77"/>
              </a:rPr>
              <a:t>Nous possédons des traits de personnalité propres, mais notre éducation et notre expérience personnelle peuvent déterminer ou renforcer nos perceptions et nos opinions.</a:t>
            </a:r>
            <a:endParaRPr lang="fr-FR" sz="2000" b="1" dirty="0">
              <a:solidFill>
                <a:srgbClr val="224099"/>
              </a:solidFill>
              <a:latin typeface="Sailec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2282876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6" grpId="0"/>
      <p:bldP spid="12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Les 6 familles de valeurs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16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Qui sont-elles ?</a:t>
            </a:r>
            <a:endParaRPr lang="fr-FR" sz="3200" i="1" dirty="0"/>
          </a:p>
        </p:txBody>
      </p:sp>
    </p:spTree>
    <p:extLst>
      <p:ext uri="{BB962C8B-B14F-4D97-AF65-F5344CB8AC3E}">
        <p14:creationId xmlns:p14="http://schemas.microsoft.com/office/powerpoint/2010/main" val="237706534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17</a:t>
            </a:fld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D009A34D-16D1-5CA5-E4C1-37D429F72CBF}"/>
              </a:ext>
            </a:extLst>
          </p:cNvPr>
          <p:cNvSpPr txBox="1"/>
          <p:nvPr/>
        </p:nvSpPr>
        <p:spPr>
          <a:xfrm>
            <a:off x="548640" y="349135"/>
            <a:ext cx="6580328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F26A5D"/>
                </a:solidFill>
                <a:cs typeface="Arial" pitchFamily="34" charset="0"/>
              </a:rPr>
              <a:t>Les Militants désabusé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7C33A62E-6ADD-8E6F-D3AB-B2C418E52B9C}"/>
              </a:ext>
            </a:extLst>
          </p:cNvPr>
          <p:cNvSpPr txBox="1"/>
          <p:nvPr/>
        </p:nvSpPr>
        <p:spPr>
          <a:xfrm>
            <a:off x="548640" y="1083299"/>
            <a:ext cx="2042226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12% de la popul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F672B63-C42D-E892-98CE-4EF63512C6AE}"/>
              </a:ext>
            </a:extLst>
          </p:cNvPr>
          <p:cNvSpPr txBox="1"/>
          <p:nvPr/>
        </p:nvSpPr>
        <p:spPr>
          <a:xfrm>
            <a:off x="903925" y="2429280"/>
            <a:ext cx="2931893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Justice sociale et climat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A6AD526-3C81-7B03-A7F3-27648C69F90E}"/>
              </a:ext>
            </a:extLst>
          </p:cNvPr>
          <p:cNvSpPr txBox="1"/>
          <p:nvPr/>
        </p:nvSpPr>
        <p:spPr>
          <a:xfrm>
            <a:off x="592722" y="3640867"/>
            <a:ext cx="1954061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quité et justic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4C9C580-38A4-3262-E4DE-F2AD42953B00}"/>
              </a:ext>
            </a:extLst>
          </p:cNvPr>
          <p:cNvSpPr txBox="1"/>
          <p:nvPr/>
        </p:nvSpPr>
        <p:spPr>
          <a:xfrm>
            <a:off x="7626780" y="1329520"/>
            <a:ext cx="868828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Liberté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F6DADDEB-229F-54AF-75CC-3C624516FCE0}"/>
              </a:ext>
            </a:extLst>
          </p:cNvPr>
          <p:cNvSpPr txBox="1"/>
          <p:nvPr/>
        </p:nvSpPr>
        <p:spPr>
          <a:xfrm>
            <a:off x="9037126" y="3121223"/>
            <a:ext cx="2210542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ngagement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t pouvoir citoye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F42BBC2-D42C-CE39-839F-BC3E43757DBA}"/>
              </a:ext>
            </a:extLst>
          </p:cNvPr>
          <p:cNvSpPr txBox="1"/>
          <p:nvPr/>
        </p:nvSpPr>
        <p:spPr>
          <a:xfrm>
            <a:off x="2565245" y="5209346"/>
            <a:ext cx="955391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Gauche</a:t>
            </a:r>
            <a:endParaRPr lang="fr-FR" sz="20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C252C4A9-9A46-BC9F-0A72-D1927EACAC6E}"/>
              </a:ext>
            </a:extLst>
          </p:cNvPr>
          <p:cNvSpPr txBox="1"/>
          <p:nvPr/>
        </p:nvSpPr>
        <p:spPr>
          <a:xfrm>
            <a:off x="8718955" y="5055457"/>
            <a:ext cx="1082027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Informés</a:t>
            </a:r>
            <a:endParaRPr lang="fr-FR" sz="20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04D9A3EE-69BE-10B5-6F8D-6E52A8D4CA5E}"/>
              </a:ext>
            </a:extLst>
          </p:cNvPr>
          <p:cNvSpPr txBox="1"/>
          <p:nvPr/>
        </p:nvSpPr>
        <p:spPr>
          <a:xfrm>
            <a:off x="6404468" y="5926027"/>
            <a:ext cx="1726435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Plus diplômés</a:t>
            </a:r>
            <a:endParaRPr lang="fr-FR" sz="20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FC357610-C322-1103-92FE-B4FC102E2CA0}"/>
              </a:ext>
            </a:extLst>
          </p:cNvPr>
          <p:cNvCxnSpPr>
            <a:cxnSpLocks/>
          </p:cNvCxnSpPr>
          <p:nvPr/>
        </p:nvCxnSpPr>
        <p:spPr>
          <a:xfrm rot="10800000">
            <a:off x="2832044" y="3794756"/>
            <a:ext cx="2740254" cy="203002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D71AFDE8-6AFB-359E-468E-BEE8A98A8C3A}"/>
              </a:ext>
            </a:extLst>
          </p:cNvPr>
          <p:cNvCxnSpPr/>
          <p:nvPr/>
        </p:nvCxnSpPr>
        <p:spPr>
          <a:xfrm rot="10800000">
            <a:off x="4242262" y="2583974"/>
            <a:ext cx="1330036" cy="561008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B2420E57-E32A-05C3-5DE0-1D0B6E1DF837}"/>
              </a:ext>
            </a:extLst>
          </p:cNvPr>
          <p:cNvCxnSpPr>
            <a:cxnSpLocks/>
          </p:cNvCxnSpPr>
          <p:nvPr/>
        </p:nvCxnSpPr>
        <p:spPr>
          <a:xfrm rot="10800000" flipV="1">
            <a:off x="3838804" y="4455776"/>
            <a:ext cx="2021198" cy="907457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729FBF7C-9D1E-5A4F-EFAA-798C21836890}"/>
              </a:ext>
            </a:extLst>
          </p:cNvPr>
          <p:cNvCxnSpPr>
            <a:cxnSpLocks/>
          </p:cNvCxnSpPr>
          <p:nvPr/>
        </p:nvCxnSpPr>
        <p:spPr>
          <a:xfrm rot="10800000" flipV="1">
            <a:off x="7128969" y="3370268"/>
            <a:ext cx="1908157" cy="424488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F9C073FD-972B-8987-0B27-8EF82F8DB9F2}"/>
              </a:ext>
            </a:extLst>
          </p:cNvPr>
          <p:cNvCxnSpPr>
            <a:cxnSpLocks/>
          </p:cNvCxnSpPr>
          <p:nvPr/>
        </p:nvCxnSpPr>
        <p:spPr>
          <a:xfrm rot="10800000">
            <a:off x="6827427" y="4212863"/>
            <a:ext cx="1668181" cy="996483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en angle 30">
            <a:extLst>
              <a:ext uri="{FF2B5EF4-FFF2-40B4-BE49-F238E27FC236}">
                <a16:creationId xmlns:a16="http://schemas.microsoft.com/office/drawing/2014/main" id="{5C1B6B2C-CFC7-EA48-5530-B466842CD8F4}"/>
              </a:ext>
            </a:extLst>
          </p:cNvPr>
          <p:cNvCxnSpPr>
            <a:cxnSpLocks/>
          </p:cNvCxnSpPr>
          <p:nvPr/>
        </p:nvCxnSpPr>
        <p:spPr>
          <a:xfrm rot="16200000" flipV="1">
            <a:off x="6112458" y="4693990"/>
            <a:ext cx="1337648" cy="695373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ZoneTexte 34">
            <a:extLst>
              <a:ext uri="{FF2B5EF4-FFF2-40B4-BE49-F238E27FC236}">
                <a16:creationId xmlns:a16="http://schemas.microsoft.com/office/drawing/2014/main" id="{4E6109E4-5CBD-90B4-CB64-27A71EEDF11B}"/>
              </a:ext>
            </a:extLst>
          </p:cNvPr>
          <p:cNvSpPr txBox="1"/>
          <p:nvPr/>
        </p:nvSpPr>
        <p:spPr>
          <a:xfrm>
            <a:off x="8932154" y="2183095"/>
            <a:ext cx="2417328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Citoyens du monde</a:t>
            </a:r>
          </a:p>
        </p:txBody>
      </p:sp>
      <p:cxnSp>
        <p:nvCxnSpPr>
          <p:cNvPr id="37" name="Connecteur en angle 36">
            <a:extLst>
              <a:ext uri="{FF2B5EF4-FFF2-40B4-BE49-F238E27FC236}">
                <a16:creationId xmlns:a16="http://schemas.microsoft.com/office/drawing/2014/main" id="{817BB2F7-4513-22AA-25B3-33498132D53F}"/>
              </a:ext>
            </a:extLst>
          </p:cNvPr>
          <p:cNvCxnSpPr/>
          <p:nvPr/>
        </p:nvCxnSpPr>
        <p:spPr>
          <a:xfrm flipV="1">
            <a:off x="6508413" y="2336983"/>
            <a:ext cx="2172996" cy="808000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eur en angle 38">
            <a:extLst>
              <a:ext uri="{FF2B5EF4-FFF2-40B4-BE49-F238E27FC236}">
                <a16:creationId xmlns:a16="http://schemas.microsoft.com/office/drawing/2014/main" id="{2C78C742-90B5-80D9-F1F9-446E4EBF2AD0}"/>
              </a:ext>
            </a:extLst>
          </p:cNvPr>
          <p:cNvCxnSpPr/>
          <p:nvPr/>
        </p:nvCxnSpPr>
        <p:spPr>
          <a:xfrm flipV="1">
            <a:off x="6147005" y="1511575"/>
            <a:ext cx="1171686" cy="1099760"/>
          </a:xfrm>
          <a:prstGeom prst="bentConnector3">
            <a:avLst>
              <a:gd name="adj1" fmla="val 52838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Image 3" descr="Une image contenant dessin humoristique, illustration&#10;&#10;Description générée automatiquement">
            <a:extLst>
              <a:ext uri="{FF2B5EF4-FFF2-40B4-BE49-F238E27FC236}">
                <a16:creationId xmlns:a16="http://schemas.microsoft.com/office/drawing/2014/main" id="{D8B83066-348F-F4C1-B016-E3D0C0FBD4C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9165" y="1630226"/>
            <a:ext cx="4449689" cy="4449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405235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18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F620C1F9-FA1C-6B4E-035B-4319BCEC395B}"/>
              </a:ext>
            </a:extLst>
          </p:cNvPr>
          <p:cNvSpPr txBox="1"/>
          <p:nvPr/>
        </p:nvSpPr>
        <p:spPr>
          <a:xfrm>
            <a:off x="548640" y="349135"/>
            <a:ext cx="5025415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12A059"/>
                </a:solidFill>
                <a:cs typeface="Arial" pitchFamily="34" charset="0"/>
              </a:rPr>
              <a:t>Les </a:t>
            </a:r>
            <a:r>
              <a:rPr lang="fr-FR" sz="4400" b="1" noProof="0" dirty="0" err="1">
                <a:solidFill>
                  <a:srgbClr val="12A059"/>
                </a:solidFill>
                <a:cs typeface="Arial" pitchFamily="34" charset="0"/>
              </a:rPr>
              <a:t>Stabillisateurs</a:t>
            </a:r>
            <a:endParaRPr lang="fr-FR" sz="4400" b="1" noProof="0" dirty="0">
              <a:solidFill>
                <a:srgbClr val="12A059"/>
              </a:solidFill>
              <a:cs typeface="Arial" pitchFamily="34" charset="0"/>
            </a:endParaRP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88103A43-363B-3458-E5D1-2AFD5976A40D}"/>
              </a:ext>
            </a:extLst>
          </p:cNvPr>
          <p:cNvSpPr txBox="1"/>
          <p:nvPr/>
        </p:nvSpPr>
        <p:spPr>
          <a:xfrm>
            <a:off x="548640" y="1083299"/>
            <a:ext cx="2056653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19% de la popula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CB435FB8-9A84-0A9A-A18A-F8BF1B04B65D}"/>
              </a:ext>
            </a:extLst>
          </p:cNvPr>
          <p:cNvSpPr txBox="1"/>
          <p:nvPr/>
        </p:nvSpPr>
        <p:spPr>
          <a:xfrm>
            <a:off x="2057149" y="1762195"/>
            <a:ext cx="2063065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Vivre-ensemble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modér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8B1C952C-F012-ABD5-82A5-0AC7AC3A8F2B}"/>
              </a:ext>
            </a:extLst>
          </p:cNvPr>
          <p:cNvSpPr txBox="1"/>
          <p:nvPr/>
        </p:nvSpPr>
        <p:spPr>
          <a:xfrm>
            <a:off x="783075" y="2805924"/>
            <a:ext cx="1974900" cy="92333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Précarité, </a:t>
            </a:r>
          </a:p>
          <a:p>
            <a:pPr algn="ctr"/>
            <a:r>
              <a:rPr lang="fr-FR" sz="2000" noProof="0" dirty="0" err="1">
                <a:solidFill>
                  <a:schemeClr val="bg1"/>
                </a:solidFill>
                <a:cs typeface="Arial" pitchFamily="34" charset="0"/>
              </a:rPr>
              <a:t>environnemen</a:t>
            </a:r>
            <a:r>
              <a:rPr lang="fr-FR" sz="2000" dirty="0" err="1">
                <a:solidFill>
                  <a:schemeClr val="bg1"/>
                </a:solidFill>
                <a:cs typeface="Arial" pitchFamily="34" charset="0"/>
              </a:rPr>
              <a:t>t</a:t>
            </a:r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, </a:t>
            </a:r>
          </a:p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santé</a:t>
            </a:r>
            <a:endParaRPr lang="fr-FR" sz="20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60789995-1137-0747-7A5F-6C9FF316C121}"/>
              </a:ext>
            </a:extLst>
          </p:cNvPr>
          <p:cNvSpPr txBox="1"/>
          <p:nvPr/>
        </p:nvSpPr>
        <p:spPr>
          <a:xfrm>
            <a:off x="1483479" y="4673332"/>
            <a:ext cx="1532472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International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6AAA3658-DC7C-1069-4DD1-FCCB75B5F6AF}"/>
              </a:ext>
            </a:extLst>
          </p:cNvPr>
          <p:cNvSpPr txBox="1"/>
          <p:nvPr/>
        </p:nvSpPr>
        <p:spPr>
          <a:xfrm>
            <a:off x="7766546" y="1329520"/>
            <a:ext cx="2903039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mpathie, bienveillanc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8F07A807-3023-8C33-225E-327A73720C1E}"/>
              </a:ext>
            </a:extLst>
          </p:cNvPr>
          <p:cNvSpPr txBox="1"/>
          <p:nvPr/>
        </p:nvSpPr>
        <p:spPr>
          <a:xfrm>
            <a:off x="8830878" y="2448116"/>
            <a:ext cx="2035814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Justice et équité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AF22C1F3-A985-3A63-D45A-2F12BC74D638}"/>
              </a:ext>
            </a:extLst>
          </p:cNvPr>
          <p:cNvSpPr txBox="1"/>
          <p:nvPr/>
        </p:nvSpPr>
        <p:spPr>
          <a:xfrm>
            <a:off x="8816507" y="3834635"/>
            <a:ext cx="2335576" cy="92333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Respect de l’ordre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de l’autorité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politesse, civism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FB7FD4BD-4F0A-B2B4-BAFD-EB86B3C805B1}"/>
              </a:ext>
            </a:extLst>
          </p:cNvPr>
          <p:cNvSpPr txBox="1"/>
          <p:nvPr/>
        </p:nvSpPr>
        <p:spPr>
          <a:xfrm>
            <a:off x="2605293" y="5705750"/>
            <a:ext cx="2213748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Pouvoir d’agir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ngagement local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20DC7F1D-461A-DA7B-9C91-9F3C7B5D39F7}"/>
              </a:ext>
            </a:extLst>
          </p:cNvPr>
          <p:cNvSpPr txBox="1"/>
          <p:nvPr/>
        </p:nvSpPr>
        <p:spPr>
          <a:xfrm>
            <a:off x="7949643" y="5356723"/>
            <a:ext cx="2968762" cy="923330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Baby-boomer, </a:t>
            </a:r>
          </a:p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plus aisés, propriétaires, </a:t>
            </a:r>
          </a:p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participationnistes</a:t>
            </a:r>
            <a:endParaRPr lang="fr-FR" sz="20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cxnSp>
        <p:nvCxnSpPr>
          <p:cNvPr id="15" name="Connecteur en angle 14">
            <a:extLst>
              <a:ext uri="{FF2B5EF4-FFF2-40B4-BE49-F238E27FC236}">
                <a16:creationId xmlns:a16="http://schemas.microsoft.com/office/drawing/2014/main" id="{8EA968AA-EB01-927C-A0FB-3859E0ADC706}"/>
              </a:ext>
            </a:extLst>
          </p:cNvPr>
          <p:cNvCxnSpPr>
            <a:endCxn id="6" idx="3"/>
          </p:cNvCxnSpPr>
          <p:nvPr/>
        </p:nvCxnSpPr>
        <p:spPr>
          <a:xfrm rot="10800000">
            <a:off x="4120215" y="2069973"/>
            <a:ext cx="1453841" cy="685921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D145788F-0E99-40CF-1CE8-FA1D16C5DCBF}"/>
              </a:ext>
            </a:extLst>
          </p:cNvPr>
          <p:cNvCxnSpPr>
            <a:cxnSpLocks/>
          </p:cNvCxnSpPr>
          <p:nvPr/>
        </p:nvCxnSpPr>
        <p:spPr>
          <a:xfrm rot="10800000">
            <a:off x="2817736" y="3016235"/>
            <a:ext cx="2709467" cy="30777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C8AE0064-95FD-B2B5-E839-BF8E6B813E7A}"/>
              </a:ext>
            </a:extLst>
          </p:cNvPr>
          <p:cNvCxnSpPr>
            <a:cxnSpLocks/>
          </p:cNvCxnSpPr>
          <p:nvPr/>
        </p:nvCxnSpPr>
        <p:spPr>
          <a:xfrm rot="10800000" flipV="1">
            <a:off x="3361121" y="4242072"/>
            <a:ext cx="2416624" cy="585148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necteur en angle 22">
            <a:extLst>
              <a:ext uri="{FF2B5EF4-FFF2-40B4-BE49-F238E27FC236}">
                <a16:creationId xmlns:a16="http://schemas.microsoft.com/office/drawing/2014/main" id="{70DBC8A5-A01E-6601-7A1C-76EE9444CBF5}"/>
              </a:ext>
            </a:extLst>
          </p:cNvPr>
          <p:cNvCxnSpPr>
            <a:cxnSpLocks/>
          </p:cNvCxnSpPr>
          <p:nvPr/>
        </p:nvCxnSpPr>
        <p:spPr>
          <a:xfrm rot="10800000" flipV="1">
            <a:off x="4847135" y="4411605"/>
            <a:ext cx="1577182" cy="1341583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en angle 25">
            <a:extLst>
              <a:ext uri="{FF2B5EF4-FFF2-40B4-BE49-F238E27FC236}">
                <a16:creationId xmlns:a16="http://schemas.microsoft.com/office/drawing/2014/main" id="{9CCE127C-1C3D-EDD5-B9D0-FD3C8B54C6BC}"/>
              </a:ext>
            </a:extLst>
          </p:cNvPr>
          <p:cNvCxnSpPr>
            <a:cxnSpLocks/>
          </p:cNvCxnSpPr>
          <p:nvPr/>
        </p:nvCxnSpPr>
        <p:spPr>
          <a:xfrm flipV="1">
            <a:off x="5949818" y="1555464"/>
            <a:ext cx="1535082" cy="127248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5FDEE9F8-ED84-0B84-E946-B378C3C7754F}"/>
              </a:ext>
            </a:extLst>
          </p:cNvPr>
          <p:cNvCxnSpPr>
            <a:cxnSpLocks/>
          </p:cNvCxnSpPr>
          <p:nvPr/>
        </p:nvCxnSpPr>
        <p:spPr>
          <a:xfrm flipV="1">
            <a:off x="6717359" y="2673621"/>
            <a:ext cx="1816728" cy="629391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4F017BFC-8816-DBF1-40C9-B35A6357565A}"/>
              </a:ext>
            </a:extLst>
          </p:cNvPr>
          <p:cNvCxnSpPr>
            <a:cxnSpLocks/>
          </p:cNvCxnSpPr>
          <p:nvPr/>
        </p:nvCxnSpPr>
        <p:spPr>
          <a:xfrm>
            <a:off x="6654303" y="3871050"/>
            <a:ext cx="2078664" cy="468286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necteur en angle 31">
            <a:extLst>
              <a:ext uri="{FF2B5EF4-FFF2-40B4-BE49-F238E27FC236}">
                <a16:creationId xmlns:a16="http://schemas.microsoft.com/office/drawing/2014/main" id="{53404E9A-B21F-FD23-DA92-0617473C95C7}"/>
              </a:ext>
            </a:extLst>
          </p:cNvPr>
          <p:cNvCxnSpPr>
            <a:cxnSpLocks/>
          </p:cNvCxnSpPr>
          <p:nvPr/>
        </p:nvCxnSpPr>
        <p:spPr>
          <a:xfrm>
            <a:off x="5861285" y="4279204"/>
            <a:ext cx="1915838" cy="1539184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chaussures, habits, illustration, dessin humoristique&#10;&#10;Description générée automatiquement">
            <a:extLst>
              <a:ext uri="{FF2B5EF4-FFF2-40B4-BE49-F238E27FC236}">
                <a16:creationId xmlns:a16="http://schemas.microsoft.com/office/drawing/2014/main" id="{84B2131C-BE3F-29A9-A42A-7D9BD6B2555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31336" y="1916084"/>
            <a:ext cx="3529327" cy="35293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29524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19</a:t>
            </a:fld>
            <a:endParaRPr lang="fr-FR"/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2F4DADD2-A737-3A0A-D4EA-ECEDCC834FCE}"/>
              </a:ext>
            </a:extLst>
          </p:cNvPr>
          <p:cNvSpPr txBox="1"/>
          <p:nvPr/>
        </p:nvSpPr>
        <p:spPr>
          <a:xfrm>
            <a:off x="548640" y="349135"/>
            <a:ext cx="6540252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17C1E8"/>
                </a:solidFill>
                <a:cs typeface="Arial" pitchFamily="34" charset="0"/>
              </a:rPr>
              <a:t>Les Libéraux optimistes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842CC9D2-DF97-FBEC-745C-6C334ECBA2E8}"/>
              </a:ext>
            </a:extLst>
          </p:cNvPr>
          <p:cNvSpPr txBox="1"/>
          <p:nvPr/>
        </p:nvSpPr>
        <p:spPr>
          <a:xfrm>
            <a:off x="548640" y="1083299"/>
            <a:ext cx="2011769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11% de la popul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DC0EC707-1A6D-DBF4-8FE7-4A1657DD5763}"/>
              </a:ext>
            </a:extLst>
          </p:cNvPr>
          <p:cNvSpPr txBox="1"/>
          <p:nvPr/>
        </p:nvSpPr>
        <p:spPr>
          <a:xfrm>
            <a:off x="1867948" y="1917595"/>
            <a:ext cx="2000548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ntrepreneuriat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méritocrati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160AF508-DBB0-A469-0759-0D902620D95C}"/>
              </a:ext>
            </a:extLst>
          </p:cNvPr>
          <p:cNvSpPr txBox="1"/>
          <p:nvPr/>
        </p:nvSpPr>
        <p:spPr>
          <a:xfrm>
            <a:off x="1057348" y="3270611"/>
            <a:ext cx="1376980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Optimism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C6996409-BFB0-72BC-A3FC-98D2762D34CE}"/>
              </a:ext>
            </a:extLst>
          </p:cNvPr>
          <p:cNvSpPr txBox="1"/>
          <p:nvPr/>
        </p:nvSpPr>
        <p:spPr>
          <a:xfrm>
            <a:off x="1561774" y="4474239"/>
            <a:ext cx="1306448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Confiants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intégrés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1AD83C45-78DB-65B4-8675-2FF0F348A56E}"/>
              </a:ext>
            </a:extLst>
          </p:cNvPr>
          <p:cNvSpPr txBox="1"/>
          <p:nvPr/>
        </p:nvSpPr>
        <p:spPr>
          <a:xfrm>
            <a:off x="2757581" y="5831757"/>
            <a:ext cx="2122377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Fiers de la Franc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67160F01-61D2-C120-0FDB-37E76F333539}"/>
              </a:ext>
            </a:extLst>
          </p:cNvPr>
          <p:cNvSpPr txBox="1"/>
          <p:nvPr/>
        </p:nvSpPr>
        <p:spPr>
          <a:xfrm>
            <a:off x="7732711" y="1430438"/>
            <a:ext cx="2574423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Une identité multipl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49D403C-8B7C-32AD-74E4-C8C8060C57F2}"/>
              </a:ext>
            </a:extLst>
          </p:cNvPr>
          <p:cNvSpPr txBox="1"/>
          <p:nvPr/>
        </p:nvSpPr>
        <p:spPr>
          <a:xfrm>
            <a:off x="8901792" y="2602087"/>
            <a:ext cx="1082027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Informé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5315652A-1654-519D-8DFD-D0A1E0172AE7}"/>
              </a:ext>
            </a:extLst>
          </p:cNvPr>
          <p:cNvSpPr txBox="1"/>
          <p:nvPr/>
        </p:nvSpPr>
        <p:spPr>
          <a:xfrm>
            <a:off x="8283434" y="3858686"/>
            <a:ext cx="3289363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Economie, santé, </a:t>
            </a:r>
          </a:p>
          <a:p>
            <a:pPr algn="ctr"/>
            <a:r>
              <a:rPr lang="fr-FR" sz="2000" dirty="0">
                <a:solidFill>
                  <a:schemeClr val="bg1"/>
                </a:solidFill>
                <a:cs typeface="Arial" pitchFamily="34" charset="0"/>
              </a:rPr>
              <a:t>environnement</a:t>
            </a:r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, insécurité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69CDC86F-FE7D-0D46-6932-498661CA2BEC}"/>
              </a:ext>
            </a:extLst>
          </p:cNvPr>
          <p:cNvSpPr txBox="1"/>
          <p:nvPr/>
        </p:nvSpPr>
        <p:spPr>
          <a:xfrm>
            <a:off x="7476247" y="5492000"/>
            <a:ext cx="3087384" cy="615553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Plus jeunes et masculins, </a:t>
            </a:r>
          </a:p>
          <a:p>
            <a:pPr algn="ctr"/>
            <a:r>
              <a:rPr lang="fr-FR" sz="2000" noProof="0" dirty="0">
                <a:solidFill>
                  <a:schemeClr val="bg1"/>
                </a:solidFill>
                <a:cs typeface="Arial" pitchFamily="34" charset="0"/>
              </a:rPr>
              <a:t>votent plus E. Macron</a:t>
            </a:r>
          </a:p>
        </p:txBody>
      </p: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90C3CFF3-FCA2-2F71-30DA-7FBE4C3B4FCE}"/>
              </a:ext>
            </a:extLst>
          </p:cNvPr>
          <p:cNvCxnSpPr>
            <a:endCxn id="7" idx="3"/>
          </p:cNvCxnSpPr>
          <p:nvPr/>
        </p:nvCxnSpPr>
        <p:spPr>
          <a:xfrm rot="10800000">
            <a:off x="3868497" y="2225372"/>
            <a:ext cx="1426835" cy="307776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FFDFA106-235D-44C2-118E-232CF101F5D8}"/>
              </a:ext>
            </a:extLst>
          </p:cNvPr>
          <p:cNvCxnSpPr>
            <a:cxnSpLocks/>
          </p:cNvCxnSpPr>
          <p:nvPr/>
        </p:nvCxnSpPr>
        <p:spPr>
          <a:xfrm rot="10800000" flipV="1">
            <a:off x="2629412" y="3091231"/>
            <a:ext cx="2665920" cy="333267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98C957DA-439B-46D9-8761-1D27E1A27894}"/>
              </a:ext>
            </a:extLst>
          </p:cNvPr>
          <p:cNvCxnSpPr>
            <a:cxnSpLocks/>
          </p:cNvCxnSpPr>
          <p:nvPr/>
        </p:nvCxnSpPr>
        <p:spPr>
          <a:xfrm rot="10800000" flipV="1">
            <a:off x="3025834" y="3948059"/>
            <a:ext cx="2562121" cy="83395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56FD8F98-B09B-9C44-FA97-119E8D985FE7}"/>
              </a:ext>
            </a:extLst>
          </p:cNvPr>
          <p:cNvCxnSpPr>
            <a:cxnSpLocks/>
          </p:cNvCxnSpPr>
          <p:nvPr/>
        </p:nvCxnSpPr>
        <p:spPr>
          <a:xfrm rot="5400000">
            <a:off x="4576055" y="4787876"/>
            <a:ext cx="1017761" cy="1006040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cteur en angle 26">
            <a:extLst>
              <a:ext uri="{FF2B5EF4-FFF2-40B4-BE49-F238E27FC236}">
                <a16:creationId xmlns:a16="http://schemas.microsoft.com/office/drawing/2014/main" id="{4A73AAA1-415D-21E5-1B70-518E2265D79F}"/>
              </a:ext>
            </a:extLst>
          </p:cNvPr>
          <p:cNvCxnSpPr/>
          <p:nvPr/>
        </p:nvCxnSpPr>
        <p:spPr>
          <a:xfrm flipV="1">
            <a:off x="6604047" y="1584325"/>
            <a:ext cx="1004986" cy="79493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DB841233-04F2-A591-4BEB-6AA56394B85C}"/>
              </a:ext>
            </a:extLst>
          </p:cNvPr>
          <p:cNvCxnSpPr>
            <a:cxnSpLocks/>
          </p:cNvCxnSpPr>
          <p:nvPr/>
        </p:nvCxnSpPr>
        <p:spPr>
          <a:xfrm flipV="1">
            <a:off x="6896670" y="2755975"/>
            <a:ext cx="1724740" cy="239079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Connecteur en angle 29">
            <a:extLst>
              <a:ext uri="{FF2B5EF4-FFF2-40B4-BE49-F238E27FC236}">
                <a16:creationId xmlns:a16="http://schemas.microsoft.com/office/drawing/2014/main" id="{24185E95-3858-BABE-0C0E-BF0EB07C47F1}"/>
              </a:ext>
            </a:extLst>
          </p:cNvPr>
          <p:cNvCxnSpPr>
            <a:cxnSpLocks/>
          </p:cNvCxnSpPr>
          <p:nvPr/>
        </p:nvCxnSpPr>
        <p:spPr>
          <a:xfrm>
            <a:off x="6870341" y="3562170"/>
            <a:ext cx="1575390" cy="450644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Connecteur en angle 36">
            <a:extLst>
              <a:ext uri="{FF2B5EF4-FFF2-40B4-BE49-F238E27FC236}">
                <a16:creationId xmlns:a16="http://schemas.microsoft.com/office/drawing/2014/main" id="{698683AE-0378-5C3D-6EDB-03ED591B9C6E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73529" y="4155261"/>
            <a:ext cx="1569114" cy="975487"/>
          </a:xfrm>
          <a:prstGeom prst="bentConnector3">
            <a:avLst>
              <a:gd name="adj1" fmla="val 76489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chaussures, dessin humoristique, habits, debout&#10;&#10;Description générée automatiquement">
            <a:extLst>
              <a:ext uri="{FF2B5EF4-FFF2-40B4-BE49-F238E27FC236}">
                <a16:creationId xmlns:a16="http://schemas.microsoft.com/office/drawing/2014/main" id="{90EE2CFB-2FB7-8D53-E320-6E84CCF559C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51327" y="1584327"/>
            <a:ext cx="3689346" cy="36893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230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Destin Commun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Qui sommes-nous ?</a:t>
            </a:r>
          </a:p>
        </p:txBody>
      </p:sp>
    </p:spTree>
    <p:extLst>
      <p:ext uri="{BB962C8B-B14F-4D97-AF65-F5344CB8AC3E}">
        <p14:creationId xmlns:p14="http://schemas.microsoft.com/office/powerpoint/2010/main" val="1374101535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0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349D32CB-D7E4-09DD-C2EE-2B4D4F15CD55}"/>
              </a:ext>
            </a:extLst>
          </p:cNvPr>
          <p:cNvSpPr txBox="1"/>
          <p:nvPr/>
        </p:nvSpPr>
        <p:spPr>
          <a:xfrm>
            <a:off x="548640" y="349135"/>
            <a:ext cx="4196662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94829F"/>
                </a:solidFill>
                <a:cs typeface="Arial" pitchFamily="34" charset="0"/>
              </a:rPr>
              <a:t>Les Attentist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C11A96D4-57CB-0C5A-02F1-B4C1F78E32C3}"/>
              </a:ext>
            </a:extLst>
          </p:cNvPr>
          <p:cNvSpPr txBox="1"/>
          <p:nvPr/>
        </p:nvSpPr>
        <p:spPr>
          <a:xfrm>
            <a:off x="548640" y="1083299"/>
            <a:ext cx="2056653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16% de la popula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A9975A80-1BFB-8C12-03EA-4E918ED1BF8F}"/>
              </a:ext>
            </a:extLst>
          </p:cNvPr>
          <p:cNvSpPr txBox="1"/>
          <p:nvPr/>
        </p:nvSpPr>
        <p:spPr>
          <a:xfrm>
            <a:off x="1420998" y="1865630"/>
            <a:ext cx="2502288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Opinion peu tranchée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ambivalent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3062F04D-4C91-C68C-9B86-CB48365BB738}"/>
              </a:ext>
            </a:extLst>
          </p:cNvPr>
          <p:cNvSpPr txBox="1"/>
          <p:nvPr/>
        </p:nvSpPr>
        <p:spPr>
          <a:xfrm>
            <a:off x="738554" y="3259016"/>
            <a:ext cx="2792431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as de valeurs cardinales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structurantes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09FBA06-A36E-70B6-CA4E-D71634F86FF9}"/>
              </a:ext>
            </a:extLst>
          </p:cNvPr>
          <p:cNvSpPr txBox="1"/>
          <p:nvPr/>
        </p:nvSpPr>
        <p:spPr>
          <a:xfrm>
            <a:off x="1104080" y="4655416"/>
            <a:ext cx="3002425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Retrait, cocon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cachent plus leurs opinions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3FF5142C-FFD4-C164-877B-66447D77093A}"/>
              </a:ext>
            </a:extLst>
          </p:cNvPr>
          <p:cNvSpPr txBox="1"/>
          <p:nvPr/>
        </p:nvSpPr>
        <p:spPr>
          <a:xfrm>
            <a:off x="7876414" y="1301576"/>
            <a:ext cx="3185166" cy="83099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Moins engagés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dans des actions collectives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moins de sociabilité local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9C4A44F0-2878-4EDA-9992-089FC658158C}"/>
              </a:ext>
            </a:extLst>
          </p:cNvPr>
          <p:cNvSpPr txBox="1"/>
          <p:nvPr/>
        </p:nvSpPr>
        <p:spPr>
          <a:xfrm>
            <a:off x="8766825" y="3013501"/>
            <a:ext cx="2434962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ouvoir d’achat, santé,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 insécurité, retraite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68AED44-61F3-626A-DF17-858F9AED1E4C}"/>
              </a:ext>
            </a:extLst>
          </p:cNvPr>
          <p:cNvSpPr txBox="1"/>
          <p:nvPr/>
        </p:nvSpPr>
        <p:spPr>
          <a:xfrm>
            <a:off x="8266067" y="4378417"/>
            <a:ext cx="2959144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Racisme et discriminations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B65B7BCC-9109-DB9D-1E42-A181F2296451}"/>
              </a:ext>
            </a:extLst>
          </p:cNvPr>
          <p:cNvSpPr txBox="1"/>
          <p:nvPr/>
        </p:nvSpPr>
        <p:spPr>
          <a:xfrm>
            <a:off x="6458343" y="5422795"/>
            <a:ext cx="3852017" cy="83099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rofils étudiants ou jeunes parents,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 plus jeunes, difficultés financières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lus abstentionnistes</a:t>
            </a:r>
          </a:p>
        </p:txBody>
      </p:sp>
      <p:cxnSp>
        <p:nvCxnSpPr>
          <p:cNvPr id="15" name="Connecteur en angle 14">
            <a:extLst>
              <a:ext uri="{FF2B5EF4-FFF2-40B4-BE49-F238E27FC236}">
                <a16:creationId xmlns:a16="http://schemas.microsoft.com/office/drawing/2014/main" id="{F4CCD9B6-C881-6CF4-7BDF-18CC12330648}"/>
              </a:ext>
            </a:extLst>
          </p:cNvPr>
          <p:cNvCxnSpPr/>
          <p:nvPr/>
        </p:nvCxnSpPr>
        <p:spPr>
          <a:xfrm rot="10800000">
            <a:off x="4021015" y="2132574"/>
            <a:ext cx="1406770" cy="434781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669AD3DB-A92C-8417-AF8F-FDC8660940C8}"/>
              </a:ext>
            </a:extLst>
          </p:cNvPr>
          <p:cNvCxnSpPr>
            <a:cxnSpLocks/>
          </p:cNvCxnSpPr>
          <p:nvPr/>
        </p:nvCxnSpPr>
        <p:spPr>
          <a:xfrm rot="10800000" flipV="1">
            <a:off x="3416052" y="3393996"/>
            <a:ext cx="1816275" cy="276998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B76E1FD9-EEAB-AB22-7E92-C3156D4F629A}"/>
              </a:ext>
            </a:extLst>
          </p:cNvPr>
          <p:cNvCxnSpPr>
            <a:cxnSpLocks/>
          </p:cNvCxnSpPr>
          <p:nvPr/>
        </p:nvCxnSpPr>
        <p:spPr>
          <a:xfrm rot="10800000" flipV="1">
            <a:off x="3923287" y="3896593"/>
            <a:ext cx="1543097" cy="890788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cteur en angle 20">
            <a:extLst>
              <a:ext uri="{FF2B5EF4-FFF2-40B4-BE49-F238E27FC236}">
                <a16:creationId xmlns:a16="http://schemas.microsoft.com/office/drawing/2014/main" id="{F7012E8C-9E62-0212-178F-02ABCE7522E9}"/>
              </a:ext>
            </a:extLst>
          </p:cNvPr>
          <p:cNvCxnSpPr/>
          <p:nvPr/>
        </p:nvCxnSpPr>
        <p:spPr>
          <a:xfrm flipV="1">
            <a:off x="6506308" y="1513675"/>
            <a:ext cx="1370106" cy="1040933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>
            <a:extLst>
              <a:ext uri="{FF2B5EF4-FFF2-40B4-BE49-F238E27FC236}">
                <a16:creationId xmlns:a16="http://schemas.microsoft.com/office/drawing/2014/main" id="{8D838805-E1A1-82ED-3BB5-2D8FD2482218}"/>
              </a:ext>
            </a:extLst>
          </p:cNvPr>
          <p:cNvCxnSpPr>
            <a:cxnSpLocks/>
          </p:cNvCxnSpPr>
          <p:nvPr/>
        </p:nvCxnSpPr>
        <p:spPr>
          <a:xfrm>
            <a:off x="6701135" y="3176951"/>
            <a:ext cx="1868434" cy="184593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Connecteur en angle 23">
            <a:extLst>
              <a:ext uri="{FF2B5EF4-FFF2-40B4-BE49-F238E27FC236}">
                <a16:creationId xmlns:a16="http://schemas.microsoft.com/office/drawing/2014/main" id="{55665603-DB61-BDEE-60D6-6620DEE3EE71}"/>
              </a:ext>
            </a:extLst>
          </p:cNvPr>
          <p:cNvCxnSpPr>
            <a:cxnSpLocks/>
          </p:cNvCxnSpPr>
          <p:nvPr/>
        </p:nvCxnSpPr>
        <p:spPr>
          <a:xfrm>
            <a:off x="6506308" y="3774992"/>
            <a:ext cx="1579187" cy="741924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1448254D-E6CC-7FF8-3845-EA3B76990CE6}"/>
              </a:ext>
            </a:extLst>
          </p:cNvPr>
          <p:cNvCxnSpPr>
            <a:cxnSpLocks/>
          </p:cNvCxnSpPr>
          <p:nvPr/>
        </p:nvCxnSpPr>
        <p:spPr>
          <a:xfrm rot="16200000" flipH="1">
            <a:off x="5049379" y="4603313"/>
            <a:ext cx="1825969" cy="630920"/>
          </a:xfrm>
          <a:prstGeom prst="bentConnector2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habits, chaussures, dessin humoristique, debout&#10;&#10;Description générée automatiquement">
            <a:extLst>
              <a:ext uri="{FF2B5EF4-FFF2-40B4-BE49-F238E27FC236}">
                <a16:creationId xmlns:a16="http://schemas.microsoft.com/office/drawing/2014/main" id="{9E95C5CC-7BA7-132C-3B53-49BBDD2586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15586" y="1648586"/>
            <a:ext cx="3560828" cy="35608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93005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1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C7CDBB78-AF81-B368-2C99-ADE2773C26A1}"/>
              </a:ext>
            </a:extLst>
          </p:cNvPr>
          <p:cNvSpPr txBox="1"/>
          <p:nvPr/>
        </p:nvSpPr>
        <p:spPr>
          <a:xfrm>
            <a:off x="548640" y="349135"/>
            <a:ext cx="6780702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F2C738"/>
                </a:solidFill>
                <a:cs typeface="Arial" pitchFamily="34" charset="0"/>
              </a:rPr>
              <a:t>Les Laissés pour compte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321CA670-CA9F-7D11-62C2-9963B8DAAFCD}"/>
              </a:ext>
            </a:extLst>
          </p:cNvPr>
          <p:cNvSpPr txBox="1"/>
          <p:nvPr/>
        </p:nvSpPr>
        <p:spPr>
          <a:xfrm>
            <a:off x="548640" y="1083299"/>
            <a:ext cx="2072683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dirty="0">
                <a:solidFill>
                  <a:schemeClr val="bg1"/>
                </a:solidFill>
                <a:cs typeface="Arial" pitchFamily="34" charset="0"/>
              </a:rPr>
              <a:t>22</a:t>
            </a:r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% de la population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F439C9F1-1B0F-4F34-A0DE-5731D152123B}"/>
              </a:ext>
            </a:extLst>
          </p:cNvPr>
          <p:cNvSpPr txBox="1"/>
          <p:nvPr/>
        </p:nvSpPr>
        <p:spPr>
          <a:xfrm>
            <a:off x="1467891" y="1976154"/>
            <a:ext cx="2633734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essimisme, déclinisme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9118AF06-F48A-98A5-6A79-6402AD88398D}"/>
              </a:ext>
            </a:extLst>
          </p:cNvPr>
          <p:cNvSpPr txBox="1"/>
          <p:nvPr/>
        </p:nvSpPr>
        <p:spPr>
          <a:xfrm>
            <a:off x="837109" y="3013500"/>
            <a:ext cx="1947649" cy="1107996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Ordre juste :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équité, justice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autorité, respect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civisme, politess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8AA37D51-EB3A-ED7A-3C06-C2126B4C51C9}"/>
              </a:ext>
            </a:extLst>
          </p:cNvPr>
          <p:cNvSpPr txBox="1"/>
          <p:nvPr/>
        </p:nvSpPr>
        <p:spPr>
          <a:xfrm>
            <a:off x="1936144" y="4838126"/>
            <a:ext cx="1391408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Impuissanc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A5EFEBB0-614F-F0D5-6502-276F3F4BB955}"/>
              </a:ext>
            </a:extLst>
          </p:cNvPr>
          <p:cNvSpPr txBox="1"/>
          <p:nvPr/>
        </p:nvSpPr>
        <p:spPr>
          <a:xfrm>
            <a:off x="1725350" y="5831755"/>
            <a:ext cx="3204403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Absence de reconnaissance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invisibilisation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D2A398ED-B638-3D7D-FF43-D9286064D3BC}"/>
              </a:ext>
            </a:extLst>
          </p:cNvPr>
          <p:cNvSpPr txBox="1"/>
          <p:nvPr/>
        </p:nvSpPr>
        <p:spPr>
          <a:xfrm>
            <a:off x="7434121" y="1283656"/>
            <a:ext cx="2826095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lus en retrait des formes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d'engagements collectifs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8B66B32E-8612-CA93-C264-0A01DA7396FB}"/>
              </a:ext>
            </a:extLst>
          </p:cNvPr>
          <p:cNvSpPr txBox="1"/>
          <p:nvPr/>
        </p:nvSpPr>
        <p:spPr>
          <a:xfrm>
            <a:off x="8350722" y="2736501"/>
            <a:ext cx="3398366" cy="83099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Défiance envers les politiques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les institutions, les médias.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En retrait de l’information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9246F819-D030-3583-7BA7-D92EAF5CF95D}"/>
              </a:ext>
            </a:extLst>
          </p:cNvPr>
          <p:cNvSpPr txBox="1"/>
          <p:nvPr/>
        </p:nvSpPr>
        <p:spPr>
          <a:xfrm>
            <a:off x="7710483" y="4365670"/>
            <a:ext cx="4004301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riorisation forte du pouvoir d’achat. </a:t>
            </a:r>
          </a:p>
          <a:p>
            <a:pPr algn="ctr"/>
            <a:r>
              <a:rPr lang="fr-FR" sz="1800" dirty="0">
                <a:solidFill>
                  <a:schemeClr val="bg1"/>
                </a:solidFill>
                <a:cs typeface="Arial" pitchFamily="34" charset="0"/>
              </a:rPr>
              <a:t>Santé, Insécurité, retraites</a:t>
            </a:r>
            <a:endParaRPr lang="fr-FR" sz="1800" noProof="0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4DB4FB4-D3A8-7C21-CF8A-C57516408432}"/>
              </a:ext>
            </a:extLst>
          </p:cNvPr>
          <p:cNvSpPr txBox="1"/>
          <p:nvPr/>
        </p:nvSpPr>
        <p:spPr>
          <a:xfrm>
            <a:off x="6672742" y="5694068"/>
            <a:ext cx="4594207" cy="83099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Nettement plus féminin, CSP-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difficultés financières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ni gauche-ni droite, votent plus M. Le Pen </a:t>
            </a:r>
          </a:p>
        </p:txBody>
      </p: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DCE494BC-B0D1-2EEB-0CBA-CCF2F8041723}"/>
              </a:ext>
            </a:extLst>
          </p:cNvPr>
          <p:cNvCxnSpPr/>
          <p:nvPr/>
        </p:nvCxnSpPr>
        <p:spPr>
          <a:xfrm rot="10800000">
            <a:off x="4227655" y="2114654"/>
            <a:ext cx="1375976" cy="476147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eur en angle 16">
            <a:extLst>
              <a:ext uri="{FF2B5EF4-FFF2-40B4-BE49-F238E27FC236}">
                <a16:creationId xmlns:a16="http://schemas.microsoft.com/office/drawing/2014/main" id="{C213FA1D-2E3E-372D-BACB-1970B49A72C5}"/>
              </a:ext>
            </a:extLst>
          </p:cNvPr>
          <p:cNvCxnSpPr>
            <a:cxnSpLocks/>
          </p:cNvCxnSpPr>
          <p:nvPr/>
        </p:nvCxnSpPr>
        <p:spPr>
          <a:xfrm rot="10800000">
            <a:off x="2784761" y="3144802"/>
            <a:ext cx="2666471" cy="422697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B4C5066A-C5CB-955E-0B8E-AA58542F7896}"/>
              </a:ext>
            </a:extLst>
          </p:cNvPr>
          <p:cNvCxnSpPr>
            <a:cxnSpLocks/>
          </p:cNvCxnSpPr>
          <p:nvPr/>
        </p:nvCxnSpPr>
        <p:spPr>
          <a:xfrm rot="10800000" flipV="1">
            <a:off x="3505200" y="4033913"/>
            <a:ext cx="2262556" cy="942711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A92B0329-9B72-0D24-9C7D-5899E15BE537}"/>
              </a:ext>
            </a:extLst>
          </p:cNvPr>
          <p:cNvCxnSpPr>
            <a:cxnSpLocks/>
            <a:endCxn id="10" idx="3"/>
          </p:cNvCxnSpPr>
          <p:nvPr/>
        </p:nvCxnSpPr>
        <p:spPr>
          <a:xfrm rot="5400000">
            <a:off x="4875423" y="4888178"/>
            <a:ext cx="1274906" cy="1166246"/>
          </a:xfrm>
          <a:prstGeom prst="bentConnector2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Connecteur en angle 27">
            <a:extLst>
              <a:ext uri="{FF2B5EF4-FFF2-40B4-BE49-F238E27FC236}">
                <a16:creationId xmlns:a16="http://schemas.microsoft.com/office/drawing/2014/main" id="{17C3F4FC-DA55-B4BC-E9A9-8BF92F0FB0AA}"/>
              </a:ext>
            </a:extLst>
          </p:cNvPr>
          <p:cNvCxnSpPr/>
          <p:nvPr/>
        </p:nvCxnSpPr>
        <p:spPr>
          <a:xfrm flipV="1">
            <a:off x="6488197" y="1580242"/>
            <a:ext cx="835908" cy="772486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D3DD91C6-4E3A-FD5F-D110-42462821A398}"/>
              </a:ext>
            </a:extLst>
          </p:cNvPr>
          <p:cNvCxnSpPr>
            <a:cxnSpLocks/>
          </p:cNvCxnSpPr>
          <p:nvPr/>
        </p:nvCxnSpPr>
        <p:spPr>
          <a:xfrm>
            <a:off x="6961159" y="3025639"/>
            <a:ext cx="1247512" cy="245099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en angle 30">
            <a:extLst>
              <a:ext uri="{FF2B5EF4-FFF2-40B4-BE49-F238E27FC236}">
                <a16:creationId xmlns:a16="http://schemas.microsoft.com/office/drawing/2014/main" id="{A6594C64-F7DD-FF30-A9B9-96395879BCB3}"/>
              </a:ext>
            </a:extLst>
          </p:cNvPr>
          <p:cNvCxnSpPr>
            <a:cxnSpLocks/>
          </p:cNvCxnSpPr>
          <p:nvPr/>
        </p:nvCxnSpPr>
        <p:spPr>
          <a:xfrm rot="16200000" flipH="1">
            <a:off x="6602255" y="3583854"/>
            <a:ext cx="1031326" cy="900118"/>
          </a:xfrm>
          <a:prstGeom prst="bentConnector2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03546216-B0B5-C2C0-9F5E-E58A671B2137}"/>
              </a:ext>
            </a:extLst>
          </p:cNvPr>
          <p:cNvCxnSpPr>
            <a:endCxn id="14" idx="1"/>
          </p:cNvCxnSpPr>
          <p:nvPr/>
        </p:nvCxnSpPr>
        <p:spPr>
          <a:xfrm rot="16200000" flipH="1">
            <a:off x="5988568" y="5425392"/>
            <a:ext cx="1275719" cy="92629"/>
          </a:xfrm>
          <a:prstGeom prst="bentConnector2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habits, chaussures, personne, debout&#10;&#10;Description générée automatiquement">
            <a:extLst>
              <a:ext uri="{FF2B5EF4-FFF2-40B4-BE49-F238E27FC236}">
                <a16:creationId xmlns:a16="http://schemas.microsoft.com/office/drawing/2014/main" id="{1246FBAE-6481-617D-73A7-FC6C9A10438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227655" y="1560655"/>
            <a:ext cx="3736689" cy="3736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095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274FF633-7307-8BD4-C557-A4075C60FE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2</a:t>
            </a:fld>
            <a:endParaRPr lang="fr-FR"/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16027F8-CE89-62CC-04FD-8567D7D77774}"/>
              </a:ext>
            </a:extLst>
          </p:cNvPr>
          <p:cNvSpPr txBox="1"/>
          <p:nvPr/>
        </p:nvSpPr>
        <p:spPr>
          <a:xfrm>
            <a:off x="548640" y="349135"/>
            <a:ext cx="4243149" cy="67710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4400" b="1" noProof="0" dirty="0">
                <a:solidFill>
                  <a:srgbClr val="224099"/>
                </a:solidFill>
                <a:cs typeface="Arial" pitchFamily="34" charset="0"/>
              </a:rPr>
              <a:t>Les Identitaires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18740691-9E5F-74D0-10AA-B83CA95344C2}"/>
              </a:ext>
            </a:extLst>
          </p:cNvPr>
          <p:cNvSpPr txBox="1"/>
          <p:nvPr/>
        </p:nvSpPr>
        <p:spPr>
          <a:xfrm>
            <a:off x="548640" y="1083299"/>
            <a:ext cx="2095125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dirty="0">
                <a:solidFill>
                  <a:schemeClr val="bg1"/>
                </a:solidFill>
                <a:cs typeface="Arial" pitchFamily="34" charset="0"/>
              </a:rPr>
              <a:t>20</a:t>
            </a:r>
            <a:r>
              <a:rPr lang="fr-FR" sz="1600" b="1" noProof="0" dirty="0">
                <a:solidFill>
                  <a:schemeClr val="bg1"/>
                </a:solidFill>
                <a:cs typeface="Arial" pitchFamily="34" charset="0"/>
              </a:rPr>
              <a:t>% de la population</a:t>
            </a:r>
          </a:p>
        </p:txBody>
      </p:sp>
      <p:sp>
        <p:nvSpPr>
          <p:cNvPr id="6" name="ZoneTexte 5">
            <a:extLst>
              <a:ext uri="{FF2B5EF4-FFF2-40B4-BE49-F238E27FC236}">
                <a16:creationId xmlns:a16="http://schemas.microsoft.com/office/drawing/2014/main" id="{2E96A396-C276-AB24-D1F7-D25FC78B4F6A}"/>
              </a:ext>
            </a:extLst>
          </p:cNvPr>
          <p:cNvSpPr txBox="1"/>
          <p:nvPr/>
        </p:nvSpPr>
        <p:spPr>
          <a:xfrm>
            <a:off x="2554943" y="1849043"/>
            <a:ext cx="1705595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Fort déclinism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1D72FA7C-F7FC-8CC9-8040-5C9A0E1C00AF}"/>
              </a:ext>
            </a:extLst>
          </p:cNvPr>
          <p:cNvSpPr txBox="1"/>
          <p:nvPr/>
        </p:nvSpPr>
        <p:spPr>
          <a:xfrm>
            <a:off x="743404" y="3015922"/>
            <a:ext cx="3331040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Autorité, ordre, respect, pureté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C7835B8-F01A-3AF6-73BE-206E1E36D803}"/>
              </a:ext>
            </a:extLst>
          </p:cNvPr>
          <p:cNvSpPr txBox="1"/>
          <p:nvPr/>
        </p:nvSpPr>
        <p:spPr>
          <a:xfrm>
            <a:off x="1873520" y="4182801"/>
            <a:ext cx="796693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Justic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A307FCB7-E72E-1C02-A7EB-8AA500309745}"/>
              </a:ext>
            </a:extLst>
          </p:cNvPr>
          <p:cNvSpPr txBox="1"/>
          <p:nvPr/>
        </p:nvSpPr>
        <p:spPr>
          <a:xfrm>
            <a:off x="1984128" y="5256322"/>
            <a:ext cx="2090316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L’ennemi interne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et l’ennemi externe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CFD7F106-20B8-43AF-F588-1C254567EBF2}"/>
              </a:ext>
            </a:extLst>
          </p:cNvPr>
          <p:cNvSpPr txBox="1"/>
          <p:nvPr/>
        </p:nvSpPr>
        <p:spPr>
          <a:xfrm>
            <a:off x="7661041" y="929410"/>
            <a:ext cx="2877391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Forte identité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sentiment d’appartenance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EFBE3302-4DCA-6372-455A-2993F43CCC03}"/>
              </a:ext>
            </a:extLst>
          </p:cNvPr>
          <p:cNvSpPr txBox="1"/>
          <p:nvPr/>
        </p:nvSpPr>
        <p:spPr>
          <a:xfrm>
            <a:off x="8821317" y="2498007"/>
            <a:ext cx="1936428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Sociabilité locale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et entraide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76245C50-E340-C366-649A-ADA6BB62CA28}"/>
              </a:ext>
            </a:extLst>
          </p:cNvPr>
          <p:cNvSpPr txBox="1"/>
          <p:nvPr/>
        </p:nvSpPr>
        <p:spPr>
          <a:xfrm>
            <a:off x="8821317" y="3805386"/>
            <a:ext cx="2325958" cy="276999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Un prisme sécuritaire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A330B17F-7EFE-77AD-710F-84360BFBCBDE}"/>
              </a:ext>
            </a:extLst>
          </p:cNvPr>
          <p:cNvSpPr txBox="1"/>
          <p:nvPr/>
        </p:nvSpPr>
        <p:spPr>
          <a:xfrm>
            <a:off x="8059050" y="4835766"/>
            <a:ext cx="2518317" cy="553998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ouvoir d’achat, </a:t>
            </a:r>
          </a:p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insécurité, immigration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9F821F1C-7E98-DCA6-619D-A01D1CE520EA}"/>
              </a:ext>
            </a:extLst>
          </p:cNvPr>
          <p:cNvSpPr txBox="1"/>
          <p:nvPr/>
        </p:nvSpPr>
        <p:spPr>
          <a:xfrm>
            <a:off x="4820650" y="5879294"/>
            <a:ext cx="5927905" cy="83099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Plus âgés, plus retraités, </a:t>
            </a:r>
          </a:p>
          <a:p>
            <a:pPr algn="ctr"/>
            <a:r>
              <a:rPr lang="fr-FR" sz="1800" dirty="0" err="1">
                <a:solidFill>
                  <a:schemeClr val="bg1"/>
                </a:solidFill>
                <a:cs typeface="Arial" pitchFamily="34" charset="0"/>
              </a:rPr>
              <a:t>autopositionnement</a:t>
            </a:r>
            <a:r>
              <a:rPr lang="fr-FR" sz="1800" dirty="0">
                <a:solidFill>
                  <a:schemeClr val="bg1"/>
                </a:solidFill>
                <a:cs typeface="Arial" pitchFamily="34" charset="0"/>
              </a:rPr>
              <a:t> à droite, </a:t>
            </a:r>
          </a:p>
          <a:p>
            <a:pPr algn="ctr"/>
            <a:r>
              <a:rPr lang="fr-FR" sz="1800" dirty="0">
                <a:solidFill>
                  <a:schemeClr val="bg1"/>
                </a:solidFill>
                <a:cs typeface="Arial" pitchFamily="34" charset="0"/>
              </a:rPr>
              <a:t>v</a:t>
            </a:r>
            <a:r>
              <a:rPr lang="fr-FR" sz="1800" noProof="0" dirty="0" err="1">
                <a:solidFill>
                  <a:schemeClr val="bg1"/>
                </a:solidFill>
                <a:cs typeface="Arial" pitchFamily="34" charset="0"/>
              </a:rPr>
              <a:t>otent</a:t>
            </a:r>
            <a:r>
              <a:rPr lang="fr-FR" sz="1800" noProof="0" dirty="0">
                <a:solidFill>
                  <a:schemeClr val="bg1"/>
                </a:solidFill>
                <a:cs typeface="Arial" pitchFamily="34" charset="0"/>
              </a:rPr>
              <a:t> plus à l’extrême-droite (M. Le Pen, E. Zemmour)</a:t>
            </a:r>
          </a:p>
        </p:txBody>
      </p:sp>
      <p:cxnSp>
        <p:nvCxnSpPr>
          <p:cNvPr id="16" name="Connecteur en angle 15">
            <a:extLst>
              <a:ext uri="{FF2B5EF4-FFF2-40B4-BE49-F238E27FC236}">
                <a16:creationId xmlns:a16="http://schemas.microsoft.com/office/drawing/2014/main" id="{4114C398-FB37-3106-64B5-AE29E6D2DF77}"/>
              </a:ext>
            </a:extLst>
          </p:cNvPr>
          <p:cNvCxnSpPr/>
          <p:nvPr/>
        </p:nvCxnSpPr>
        <p:spPr>
          <a:xfrm rot="10800000">
            <a:off x="4443047" y="1987543"/>
            <a:ext cx="1008185" cy="59153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eur en angle 17">
            <a:extLst>
              <a:ext uri="{FF2B5EF4-FFF2-40B4-BE49-F238E27FC236}">
                <a16:creationId xmlns:a16="http://schemas.microsoft.com/office/drawing/2014/main" id="{253D994F-F5CC-69CA-747C-BB140CDAFC54}"/>
              </a:ext>
            </a:extLst>
          </p:cNvPr>
          <p:cNvCxnSpPr>
            <a:cxnSpLocks/>
          </p:cNvCxnSpPr>
          <p:nvPr/>
        </p:nvCxnSpPr>
        <p:spPr>
          <a:xfrm rot="10800000">
            <a:off x="4132950" y="3154421"/>
            <a:ext cx="1095543" cy="308856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cteur en angle 19">
            <a:extLst>
              <a:ext uri="{FF2B5EF4-FFF2-40B4-BE49-F238E27FC236}">
                <a16:creationId xmlns:a16="http://schemas.microsoft.com/office/drawing/2014/main" id="{72F718FD-D6C8-77B4-5F14-190B7B992C0D}"/>
              </a:ext>
            </a:extLst>
          </p:cNvPr>
          <p:cNvCxnSpPr>
            <a:cxnSpLocks/>
          </p:cNvCxnSpPr>
          <p:nvPr/>
        </p:nvCxnSpPr>
        <p:spPr>
          <a:xfrm rot="10800000" flipV="1">
            <a:off x="2853810" y="3922950"/>
            <a:ext cx="2433299" cy="398349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necteur en angle 21">
            <a:extLst>
              <a:ext uri="{FF2B5EF4-FFF2-40B4-BE49-F238E27FC236}">
                <a16:creationId xmlns:a16="http://schemas.microsoft.com/office/drawing/2014/main" id="{E71753B1-279E-F26B-E819-1FCA188F6775}"/>
              </a:ext>
            </a:extLst>
          </p:cNvPr>
          <p:cNvCxnSpPr>
            <a:cxnSpLocks/>
          </p:cNvCxnSpPr>
          <p:nvPr/>
        </p:nvCxnSpPr>
        <p:spPr>
          <a:xfrm rot="10800000" flipV="1">
            <a:off x="4248219" y="4292480"/>
            <a:ext cx="1420024" cy="1188065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Connecteur en angle 24">
            <a:extLst>
              <a:ext uri="{FF2B5EF4-FFF2-40B4-BE49-F238E27FC236}">
                <a16:creationId xmlns:a16="http://schemas.microsoft.com/office/drawing/2014/main" id="{82704FF5-EA4C-278F-1DB4-BBD86E663EA9}"/>
              </a:ext>
            </a:extLst>
          </p:cNvPr>
          <p:cNvCxnSpPr>
            <a:endCxn id="10" idx="1"/>
          </p:cNvCxnSpPr>
          <p:nvPr/>
        </p:nvCxnSpPr>
        <p:spPr>
          <a:xfrm rot="5400000" flipH="1" flipV="1">
            <a:off x="6425239" y="1377485"/>
            <a:ext cx="1406877" cy="1064727"/>
          </a:xfrm>
          <a:prstGeom prst="bentConnector2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Connecteur en angle 25">
            <a:extLst>
              <a:ext uri="{FF2B5EF4-FFF2-40B4-BE49-F238E27FC236}">
                <a16:creationId xmlns:a16="http://schemas.microsoft.com/office/drawing/2014/main" id="{0F74DCBB-D8B1-355A-93C0-1B85342166AF}"/>
              </a:ext>
            </a:extLst>
          </p:cNvPr>
          <p:cNvCxnSpPr>
            <a:cxnSpLocks/>
          </p:cNvCxnSpPr>
          <p:nvPr/>
        </p:nvCxnSpPr>
        <p:spPr>
          <a:xfrm flipV="1">
            <a:off x="6596314" y="2872826"/>
            <a:ext cx="2170063" cy="277000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Connecteur en angle 28">
            <a:extLst>
              <a:ext uri="{FF2B5EF4-FFF2-40B4-BE49-F238E27FC236}">
                <a16:creationId xmlns:a16="http://schemas.microsoft.com/office/drawing/2014/main" id="{598CBA76-6FB5-41F0-271A-146D9B688A6C}"/>
              </a:ext>
            </a:extLst>
          </p:cNvPr>
          <p:cNvCxnSpPr>
            <a:cxnSpLocks/>
          </p:cNvCxnSpPr>
          <p:nvPr/>
        </p:nvCxnSpPr>
        <p:spPr>
          <a:xfrm>
            <a:off x="6916738" y="3548574"/>
            <a:ext cx="1746616" cy="439559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necteur en angle 30">
            <a:extLst>
              <a:ext uri="{FF2B5EF4-FFF2-40B4-BE49-F238E27FC236}">
                <a16:creationId xmlns:a16="http://schemas.microsoft.com/office/drawing/2014/main" id="{BAD45003-71D7-EAAA-674D-C86A8D05787C}"/>
              </a:ext>
            </a:extLst>
          </p:cNvPr>
          <p:cNvCxnSpPr>
            <a:cxnSpLocks/>
          </p:cNvCxnSpPr>
          <p:nvPr/>
        </p:nvCxnSpPr>
        <p:spPr>
          <a:xfrm>
            <a:off x="6601040" y="4027892"/>
            <a:ext cx="1516515" cy="918843"/>
          </a:xfrm>
          <a:prstGeom prst="bentConnector3">
            <a:avLst>
              <a:gd name="adj1" fmla="val 50000"/>
            </a:avLst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Connecteur en angle 33">
            <a:extLst>
              <a:ext uri="{FF2B5EF4-FFF2-40B4-BE49-F238E27FC236}">
                <a16:creationId xmlns:a16="http://schemas.microsoft.com/office/drawing/2014/main" id="{4E1D34FD-6C1C-36DB-C99D-EEDA1DE78CEC}"/>
              </a:ext>
            </a:extLst>
          </p:cNvPr>
          <p:cNvCxnSpPr/>
          <p:nvPr/>
        </p:nvCxnSpPr>
        <p:spPr>
          <a:xfrm rot="16200000" flipH="1">
            <a:off x="6188094" y="5100825"/>
            <a:ext cx="882735" cy="574553"/>
          </a:xfrm>
          <a:prstGeom prst="bentConnector3">
            <a:avLst/>
          </a:prstGeom>
          <a:ln w="12700">
            <a:solidFill>
              <a:schemeClr val="bg1"/>
            </a:solidFill>
            <a:headEnd type="oval" w="med" len="med"/>
            <a:tailEnd type="oval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Image 1" descr="Une image contenant habits, debout, chaussures, joint&#10;&#10;Description générée automatiquement">
            <a:extLst>
              <a:ext uri="{FF2B5EF4-FFF2-40B4-BE49-F238E27FC236}">
                <a16:creationId xmlns:a16="http://schemas.microsoft.com/office/drawing/2014/main" id="{BA3F30C4-1F7B-F016-90C8-5C07C2D372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2949" y="1465949"/>
            <a:ext cx="3926101" cy="3926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0865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Et dans cette salle ?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3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On parle toutes et tous de quelque part</a:t>
            </a:r>
            <a:endParaRPr lang="fr-FR" sz="3200" i="1" dirty="0"/>
          </a:p>
        </p:txBody>
      </p:sp>
    </p:spTree>
    <p:extLst>
      <p:ext uri="{BB962C8B-B14F-4D97-AF65-F5344CB8AC3E}">
        <p14:creationId xmlns:p14="http://schemas.microsoft.com/office/powerpoint/2010/main" val="50580065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0985" y="547391"/>
            <a:ext cx="11306175" cy="841248"/>
          </a:xfrm>
        </p:spPr>
        <p:txBody>
          <a:bodyPr/>
          <a:lstStyle/>
          <a:p>
            <a:r>
              <a:rPr lang="fr-FR" dirty="0"/>
              <a:t>Nous parlons toutes et tous de quelque part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2" name="Image 1" descr="Une image contenant habits, chaussures, dessin humoristique, debout&#10;&#10;Description générée automatiquement">
            <a:extLst>
              <a:ext uri="{FF2B5EF4-FFF2-40B4-BE49-F238E27FC236}">
                <a16:creationId xmlns:a16="http://schemas.microsoft.com/office/drawing/2014/main" id="{67FA90DB-F4F7-B288-380D-9DB2A0FE133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72845" y="4683250"/>
            <a:ext cx="1855185" cy="1855185"/>
          </a:xfrm>
          <a:prstGeom prst="rect">
            <a:avLst/>
          </a:prstGeom>
        </p:spPr>
      </p:pic>
      <p:pic>
        <p:nvPicPr>
          <p:cNvPr id="3" name="Image 2" descr="Une image contenant habits, debout, chaussures, joint&#10;&#10;Description générée automatiquement">
            <a:extLst>
              <a:ext uri="{FF2B5EF4-FFF2-40B4-BE49-F238E27FC236}">
                <a16:creationId xmlns:a16="http://schemas.microsoft.com/office/drawing/2014/main" id="{3C866A82-53BC-1EB5-D3E0-F7BA61B6E17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630471" y="4645734"/>
            <a:ext cx="1855185" cy="1855185"/>
          </a:xfrm>
          <a:prstGeom prst="rect">
            <a:avLst/>
          </a:prstGeom>
        </p:spPr>
      </p:pic>
      <p:pic>
        <p:nvPicPr>
          <p:cNvPr id="4" name="Image 3" descr="Une image contenant habits, chaussures, personne, debout&#10;&#10;Description générée automatiquement">
            <a:extLst>
              <a:ext uri="{FF2B5EF4-FFF2-40B4-BE49-F238E27FC236}">
                <a16:creationId xmlns:a16="http://schemas.microsoft.com/office/drawing/2014/main" id="{92003101-C312-EB55-14C6-D7EF19ACA7E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201658" y="4683249"/>
            <a:ext cx="1855185" cy="1855185"/>
          </a:xfrm>
          <a:prstGeom prst="rect">
            <a:avLst/>
          </a:prstGeom>
        </p:spPr>
      </p:pic>
      <p:pic>
        <p:nvPicPr>
          <p:cNvPr id="5" name="Image 4" descr="Une image contenant chaussures, dessin humoristique, habits, debout&#10;&#10;Description générée automatiquement">
            <a:extLst>
              <a:ext uri="{FF2B5EF4-FFF2-40B4-BE49-F238E27FC236}">
                <a16:creationId xmlns:a16="http://schemas.microsoft.com/office/drawing/2014/main" id="{018C0DB9-C124-49F1-1939-5119D563EC5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630472" y="2215115"/>
            <a:ext cx="1855185" cy="1855185"/>
          </a:xfrm>
          <a:prstGeom prst="rect">
            <a:avLst/>
          </a:prstGeom>
        </p:spPr>
      </p:pic>
      <p:pic>
        <p:nvPicPr>
          <p:cNvPr id="6" name="Image 5" descr="Une image contenant dessin humoristique, illustration&#10;&#10;Description générée automatiquement">
            <a:extLst>
              <a:ext uri="{FF2B5EF4-FFF2-40B4-BE49-F238E27FC236}">
                <a16:creationId xmlns:a16="http://schemas.microsoft.com/office/drawing/2014/main" id="{7A0D80BE-189A-A0C1-6E61-DCA62B1FEDF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643891" y="2086162"/>
            <a:ext cx="1984138" cy="1984138"/>
          </a:xfrm>
          <a:prstGeom prst="rect">
            <a:avLst/>
          </a:prstGeom>
        </p:spPr>
      </p:pic>
      <p:pic>
        <p:nvPicPr>
          <p:cNvPr id="7" name="Image 6" descr="Une image contenant chaussures, habits, illustration, dessin humoristique&#10;&#10;Description générée automatiquement">
            <a:extLst>
              <a:ext uri="{FF2B5EF4-FFF2-40B4-BE49-F238E27FC236}">
                <a16:creationId xmlns:a16="http://schemas.microsoft.com/office/drawing/2014/main" id="{E4CA469E-8595-FF1F-5D7F-369DCD1B8BBC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201658" y="2215115"/>
            <a:ext cx="1855185" cy="1855185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C44735AF-1F0C-8F43-02C8-E72766FC5035}"/>
              </a:ext>
            </a:extLst>
          </p:cNvPr>
          <p:cNvSpPr txBox="1"/>
          <p:nvPr/>
        </p:nvSpPr>
        <p:spPr>
          <a:xfrm>
            <a:off x="2482873" y="3968352"/>
            <a:ext cx="306174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noProof="0" dirty="0">
                <a:solidFill>
                  <a:schemeClr val="tx1"/>
                </a:solidFill>
                <a:cs typeface="Arial" pitchFamily="34" charset="0"/>
              </a:rPr>
              <a:t>20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6E20814B-7259-172B-11EF-3B2086ADF232}"/>
              </a:ext>
            </a:extLst>
          </p:cNvPr>
          <p:cNvSpPr txBox="1"/>
          <p:nvPr/>
        </p:nvSpPr>
        <p:spPr>
          <a:xfrm>
            <a:off x="6052305" y="4065055"/>
            <a:ext cx="153888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dirty="0">
                <a:cs typeface="Arial" pitchFamily="34" charset="0"/>
              </a:rPr>
              <a:t>4</a:t>
            </a:r>
            <a:endParaRPr lang="fr-FR" sz="2000" b="1" noProof="0" dirty="0">
              <a:solidFill>
                <a:schemeClr val="tx1"/>
              </a:solidFill>
              <a:cs typeface="Arial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68F71CEA-02EF-EE4A-9E2C-C8CD6F66C0BE}"/>
              </a:ext>
            </a:extLst>
          </p:cNvPr>
          <p:cNvSpPr txBox="1"/>
          <p:nvPr/>
        </p:nvSpPr>
        <p:spPr>
          <a:xfrm>
            <a:off x="2611733" y="6497391"/>
            <a:ext cx="100990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noProof="0" dirty="0">
                <a:solidFill>
                  <a:schemeClr val="tx1"/>
                </a:solidFill>
                <a:cs typeface="Arial" pitchFamily="34" charset="0"/>
              </a:rPr>
              <a:t>1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C19A7B72-ADDA-C19D-B115-CBE261B39611}"/>
              </a:ext>
            </a:extLst>
          </p:cNvPr>
          <p:cNvSpPr txBox="1"/>
          <p:nvPr/>
        </p:nvSpPr>
        <p:spPr>
          <a:xfrm>
            <a:off x="6045893" y="6497390"/>
            <a:ext cx="166712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noProof="0" dirty="0">
                <a:solidFill>
                  <a:schemeClr val="tx1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5265368-5081-3896-609F-F4546DBF5E13}"/>
              </a:ext>
            </a:extLst>
          </p:cNvPr>
          <p:cNvSpPr txBox="1"/>
          <p:nvPr/>
        </p:nvSpPr>
        <p:spPr>
          <a:xfrm>
            <a:off x="9480057" y="6497389"/>
            <a:ext cx="166712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noProof="0" dirty="0">
                <a:solidFill>
                  <a:schemeClr val="tx1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A39FB982-DC12-BBBA-301B-B21AD66331E8}"/>
              </a:ext>
            </a:extLst>
          </p:cNvPr>
          <p:cNvSpPr txBox="1"/>
          <p:nvPr/>
        </p:nvSpPr>
        <p:spPr>
          <a:xfrm>
            <a:off x="9480057" y="4065055"/>
            <a:ext cx="166712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ctr"/>
            <a:r>
              <a:rPr lang="fr-FR" sz="2000" b="1" noProof="0" dirty="0">
                <a:solidFill>
                  <a:schemeClr val="tx1"/>
                </a:solidFill>
                <a:cs typeface="Arial" pitchFamily="34" charset="0"/>
              </a:rPr>
              <a:t>0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BAF221ED-733A-C081-E628-3338513EECDB}"/>
              </a:ext>
            </a:extLst>
          </p:cNvPr>
          <p:cNvSpPr txBox="1"/>
          <p:nvPr/>
        </p:nvSpPr>
        <p:spPr>
          <a:xfrm>
            <a:off x="490985" y="1680456"/>
            <a:ext cx="11152287" cy="49429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Résultat du test de segmentation de Destin Commun fait par une partie des participants et participantes de l’atelier : </a:t>
            </a:r>
          </a:p>
        </p:txBody>
      </p:sp>
    </p:spTree>
    <p:extLst>
      <p:ext uri="{BB962C8B-B14F-4D97-AF65-F5344CB8AC3E}">
        <p14:creationId xmlns:p14="http://schemas.microsoft.com/office/powerpoint/2010/main" val="220516114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Notre enquête avec Harris Interactive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25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Ce qu’elle nous apprend pour vos actions : </a:t>
            </a:r>
            <a:r>
              <a:rPr lang="fr-FR" sz="3200" i="1" dirty="0">
                <a:solidFill>
                  <a:srgbClr val="17C1E8"/>
                </a:solidFill>
              </a:rPr>
              <a:t>convergences et différences entre </a:t>
            </a:r>
          </a:p>
          <a:p>
            <a:r>
              <a:rPr lang="fr-FR" sz="3200" i="1" dirty="0">
                <a:solidFill>
                  <a:srgbClr val="17C1E8"/>
                </a:solidFill>
              </a:rPr>
              <a:t>les Militants désabusés et les autres familles de valeurs</a:t>
            </a:r>
          </a:p>
        </p:txBody>
      </p:sp>
    </p:spTree>
    <p:extLst>
      <p:ext uri="{BB962C8B-B14F-4D97-AF65-F5344CB8AC3E}">
        <p14:creationId xmlns:p14="http://schemas.microsoft.com/office/powerpoint/2010/main" val="3113973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Attention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57CB489-AD78-15C2-5D61-A0383FE9EDF6}"/>
              </a:ext>
            </a:extLst>
          </p:cNvPr>
          <p:cNvSpPr txBox="1"/>
          <p:nvPr/>
        </p:nvSpPr>
        <p:spPr>
          <a:xfrm>
            <a:off x="690359" y="2875002"/>
            <a:ext cx="10704471" cy="1554272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>
              <a:spcAft>
                <a:spcPts val="600"/>
              </a:spcAft>
            </a:pPr>
            <a:r>
              <a:rPr lang="fr-FR" sz="2400" b="1" dirty="0">
                <a:solidFill>
                  <a:srgbClr val="224099"/>
                </a:solidFill>
                <a:cs typeface="Arial" pitchFamily="34" charset="0"/>
              </a:rPr>
              <a:t>Les données quantitatives de l’enquête Harris Interactive réalisée en février 2023 ne sont pas publiques. </a:t>
            </a:r>
          </a:p>
          <a:p>
            <a:pPr algn="ctr">
              <a:spcAft>
                <a:spcPts val="600"/>
              </a:spcAft>
            </a:pPr>
            <a:r>
              <a:rPr lang="fr-FR" sz="2400" b="1" dirty="0">
                <a:solidFill>
                  <a:srgbClr val="224099"/>
                </a:solidFill>
                <a:highlight>
                  <a:srgbClr val="FFFF00"/>
                </a:highlight>
                <a:cs typeface="Arial" pitchFamily="34" charset="0"/>
              </a:rPr>
              <a:t>Elles ont été présentées au cours de l’atelier mais ne sont pas incluses dans ce document en ligne.</a:t>
            </a:r>
            <a:endParaRPr lang="fr-FR" sz="2400" noProof="0" dirty="0">
              <a:solidFill>
                <a:srgbClr val="224099"/>
              </a:solidFill>
              <a:highlight>
                <a:srgbClr val="FFFF00"/>
              </a:highlight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0962027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20452" y="322151"/>
            <a:ext cx="9701236" cy="841248"/>
          </a:xfrm>
        </p:spPr>
        <p:txBody>
          <a:bodyPr/>
          <a:lstStyle/>
          <a:p>
            <a:r>
              <a:rPr lang="fr-FR" dirty="0"/>
              <a:t>Les mots des Militants désabusés </a:t>
            </a:r>
            <a:br>
              <a:rPr lang="fr-FR" dirty="0"/>
            </a:br>
            <a:r>
              <a:rPr lang="fr-FR" dirty="0"/>
              <a:t>pour parler d’immigration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11" name="Picture 8" descr="A close up of words&#10;&#10;Description automatically generated">
            <a:extLst>
              <a:ext uri="{FF2B5EF4-FFF2-40B4-BE49-F238E27FC236}">
                <a16:creationId xmlns:a16="http://schemas.microsoft.com/office/drawing/2014/main" id="{EBE23F76-A783-B3BF-21C0-5C75CD52DF8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392107" y="1510229"/>
            <a:ext cx="5773327" cy="5093000"/>
          </a:xfrm>
          <a:prstGeom prst="rect">
            <a:avLst/>
          </a:prstGeom>
        </p:spPr>
      </p:pic>
      <p:sp>
        <p:nvSpPr>
          <p:cNvPr id="12" name="ZoneTexte 11">
            <a:extLst>
              <a:ext uri="{FF2B5EF4-FFF2-40B4-BE49-F238E27FC236}">
                <a16:creationId xmlns:a16="http://schemas.microsoft.com/office/drawing/2014/main" id="{F174D133-6610-F744-234C-D05143B17610}"/>
              </a:ext>
            </a:extLst>
          </p:cNvPr>
          <p:cNvSpPr txBox="1"/>
          <p:nvPr/>
        </p:nvSpPr>
        <p:spPr>
          <a:xfrm>
            <a:off x="442912" y="1891840"/>
            <a:ext cx="3600345" cy="307777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000" b="1" u="sng" noProof="0" dirty="0">
                <a:highlight>
                  <a:srgbClr val="F26A5D"/>
                </a:highlight>
                <a:cs typeface="Arial" pitchFamily="34" charset="0"/>
              </a:rPr>
              <a:t>Les mots les plus employés : </a:t>
            </a:r>
          </a:p>
        </p:txBody>
      </p:sp>
      <p:pic>
        <p:nvPicPr>
          <p:cNvPr id="13" name="Picture 3" descr="A graph of different types of numbers&#10;&#10;Description automatically generated">
            <a:extLst>
              <a:ext uri="{FF2B5EF4-FFF2-40B4-BE49-F238E27FC236}">
                <a16:creationId xmlns:a16="http://schemas.microsoft.com/office/drawing/2014/main" id="{582012D2-7628-7E3F-6EDE-90CD66FB8D34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33407" t="3800" r="33071" b="55353"/>
          <a:stretch/>
        </p:blipFill>
        <p:spPr>
          <a:xfrm>
            <a:off x="205493" y="2260874"/>
            <a:ext cx="6186614" cy="4597126"/>
          </a:xfrm>
          <a:prstGeom prst="rect">
            <a:avLst/>
          </a:prstGeom>
        </p:spPr>
      </p:pic>
      <p:pic>
        <p:nvPicPr>
          <p:cNvPr id="14" name="Image 13" descr="Une image contenant dessin humoristique, illustration&#10;&#10;Description générée automatiquement">
            <a:extLst>
              <a:ext uri="{FF2B5EF4-FFF2-40B4-BE49-F238E27FC236}">
                <a16:creationId xmlns:a16="http://schemas.microsoft.com/office/drawing/2014/main" id="{014A5E63-5023-8F41-68E1-8AC60F9B97E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93" y="119258"/>
            <a:ext cx="1309465" cy="13094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7815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4840" y="339976"/>
            <a:ext cx="11306175" cy="841248"/>
          </a:xfrm>
        </p:spPr>
        <p:txBody>
          <a:bodyPr/>
          <a:lstStyle/>
          <a:p>
            <a:r>
              <a:rPr lang="fr-FR" dirty="0"/>
              <a:t>Immigration </a:t>
            </a:r>
            <a:r>
              <a:rPr lang="fr-FR"/>
              <a:t>: </a:t>
            </a:r>
            <a:br>
              <a:rPr lang="fr-FR"/>
            </a:br>
            <a:r>
              <a:rPr lang="fr-FR"/>
              <a:t>des </a:t>
            </a:r>
            <a:r>
              <a:rPr lang="fr-FR" dirty="0"/>
              <a:t>champs d’expression spontanée distincts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3" name="Image 2" descr="Une image contenant dessin humoristique, illustration&#10;&#10;Description générée automatiquement">
            <a:extLst>
              <a:ext uri="{FF2B5EF4-FFF2-40B4-BE49-F238E27FC236}">
                <a16:creationId xmlns:a16="http://schemas.microsoft.com/office/drawing/2014/main" id="{20C458CC-8F50-478F-6CE0-5A01484DC2E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365" y="1805982"/>
            <a:ext cx="866553" cy="866553"/>
          </a:xfrm>
          <a:prstGeom prst="rect">
            <a:avLst/>
          </a:prstGeom>
        </p:spPr>
      </p:pic>
      <p:pic>
        <p:nvPicPr>
          <p:cNvPr id="4" name="Image 3" descr="Une image contenant chaussures, habits, illustration, dessin humoristique&#10;&#10;Description générée automatiquement">
            <a:extLst>
              <a:ext uri="{FF2B5EF4-FFF2-40B4-BE49-F238E27FC236}">
                <a16:creationId xmlns:a16="http://schemas.microsoft.com/office/drawing/2014/main" id="{98FAC0DE-1756-C250-FD8D-128928E2ED5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818779" y="1861339"/>
            <a:ext cx="719618" cy="719618"/>
          </a:xfrm>
          <a:prstGeom prst="rect">
            <a:avLst/>
          </a:prstGeom>
        </p:spPr>
      </p:pic>
      <p:pic>
        <p:nvPicPr>
          <p:cNvPr id="5" name="Image 4" descr="Une image contenant chaussures, dessin humoristique, habits, debout&#10;&#10;Description générée automatiquement">
            <a:extLst>
              <a:ext uri="{FF2B5EF4-FFF2-40B4-BE49-F238E27FC236}">
                <a16:creationId xmlns:a16="http://schemas.microsoft.com/office/drawing/2014/main" id="{D95A96D6-D362-FA90-BED0-D264B6DF03E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4837" y="1895617"/>
            <a:ext cx="687281" cy="687281"/>
          </a:xfrm>
          <a:prstGeom prst="rect">
            <a:avLst/>
          </a:prstGeom>
        </p:spPr>
      </p:pic>
      <p:pic>
        <p:nvPicPr>
          <p:cNvPr id="6" name="Image 5" descr="Une image contenant habits, chaussures, dessin humoristique, debout&#10;&#10;Description générée automatiquement">
            <a:extLst>
              <a:ext uri="{FF2B5EF4-FFF2-40B4-BE49-F238E27FC236}">
                <a16:creationId xmlns:a16="http://schemas.microsoft.com/office/drawing/2014/main" id="{86805D16-E7F4-2BA4-332C-9F382E2D0CC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811327" y="1854046"/>
            <a:ext cx="687722" cy="687722"/>
          </a:xfrm>
          <a:prstGeom prst="rect">
            <a:avLst/>
          </a:prstGeom>
        </p:spPr>
      </p:pic>
      <p:pic>
        <p:nvPicPr>
          <p:cNvPr id="7" name="Image 6" descr="Une image contenant habits, chaussures, personne, debout&#10;&#10;Description générée automatiquement">
            <a:extLst>
              <a:ext uri="{FF2B5EF4-FFF2-40B4-BE49-F238E27FC236}">
                <a16:creationId xmlns:a16="http://schemas.microsoft.com/office/drawing/2014/main" id="{3D3014E5-8CAC-506E-D0A6-CC2678DAA9C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778258" y="1848137"/>
            <a:ext cx="719618" cy="719618"/>
          </a:xfrm>
          <a:prstGeom prst="rect">
            <a:avLst/>
          </a:prstGeom>
        </p:spPr>
      </p:pic>
      <p:pic>
        <p:nvPicPr>
          <p:cNvPr id="14" name="Image 13" descr="Une image contenant habits, debout, chaussures, joint&#10;&#10;Description générée automatiquement">
            <a:extLst>
              <a:ext uri="{FF2B5EF4-FFF2-40B4-BE49-F238E27FC236}">
                <a16:creationId xmlns:a16="http://schemas.microsoft.com/office/drawing/2014/main" id="{9BF6E756-8415-9681-BDE6-420141A553C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32692" y="1822150"/>
            <a:ext cx="719618" cy="719618"/>
          </a:xfrm>
          <a:prstGeom prst="rect">
            <a:avLst/>
          </a:prstGeom>
        </p:spPr>
      </p:pic>
      <p:sp>
        <p:nvSpPr>
          <p:cNvPr id="11" name="ZoneTexte 10">
            <a:extLst>
              <a:ext uri="{FF2B5EF4-FFF2-40B4-BE49-F238E27FC236}">
                <a16:creationId xmlns:a16="http://schemas.microsoft.com/office/drawing/2014/main" id="{FACD46D2-EEDC-4BF2-CB88-79EF6F37E897}"/>
              </a:ext>
            </a:extLst>
          </p:cNvPr>
          <p:cNvSpPr txBox="1"/>
          <p:nvPr/>
        </p:nvSpPr>
        <p:spPr>
          <a:xfrm>
            <a:off x="184448" y="2692762"/>
            <a:ext cx="1968500" cy="332398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F26A5D"/>
                </a:solidFill>
                <a:cs typeface="Arial" pitchFamily="34" charset="0"/>
              </a:rPr>
              <a:t>La fuite, la guerr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6A5D"/>
                </a:solidFill>
                <a:cs typeface="Arial" pitchFamily="34" charset="0"/>
              </a:rPr>
              <a:t>Des réfugiés</a:t>
            </a:r>
            <a:endParaRPr lang="fr-FR" sz="1600" b="1" noProof="0" dirty="0">
              <a:solidFill>
                <a:srgbClr val="F26A5D"/>
              </a:solidFill>
              <a:cs typeface="Arial" pitchFamily="34" charset="0"/>
            </a:endParaRP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6A5D"/>
                </a:solidFill>
                <a:cs typeface="Arial" pitchFamily="34" charset="0"/>
              </a:rPr>
              <a:t>La solidarité, une vision empathiqu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F26A5D"/>
                </a:solidFill>
                <a:cs typeface="Arial" pitchFamily="34" charset="0"/>
              </a:rPr>
              <a:t>Des personnes avant tout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6A5D"/>
                </a:solidFill>
                <a:cs typeface="Arial" pitchFamily="34" charset="0"/>
              </a:rPr>
              <a:t>La vulnérabilité : misère, détresse</a:t>
            </a:r>
            <a:endParaRPr lang="fr-FR" sz="1600" b="1" noProof="0" dirty="0">
              <a:solidFill>
                <a:srgbClr val="F26A5D"/>
              </a:solidFill>
              <a:cs typeface="Arial" pitchFamily="34" charset="0"/>
            </a:endParaRP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5AF58A4A-98EF-4042-DCF7-05480D02A847}"/>
              </a:ext>
            </a:extLst>
          </p:cNvPr>
          <p:cNvSpPr txBox="1"/>
          <p:nvPr/>
        </p:nvSpPr>
        <p:spPr>
          <a:xfrm>
            <a:off x="2194338" y="2651120"/>
            <a:ext cx="1968500" cy="313932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12A059"/>
                </a:solidFill>
                <a:cs typeface="Arial" pitchFamily="34" charset="0"/>
              </a:rPr>
              <a:t>La pauvreté d’abord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A059"/>
                </a:solidFill>
                <a:cs typeface="Arial" pitchFamily="34" charset="0"/>
              </a:rPr>
              <a:t>Des besoins et d</a:t>
            </a:r>
            <a:r>
              <a:rPr lang="fr-FR" sz="1600" b="1" noProof="0" dirty="0">
                <a:solidFill>
                  <a:srgbClr val="12A059"/>
                </a:solidFill>
                <a:cs typeface="Arial" pitchFamily="34" charset="0"/>
              </a:rPr>
              <a:t>es droits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A059"/>
                </a:solidFill>
                <a:cs typeface="Arial" pitchFamily="34" charset="0"/>
              </a:rPr>
              <a:t>Nombreux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A059"/>
                </a:solidFill>
                <a:cs typeface="Arial" pitchFamily="34" charset="0"/>
              </a:rPr>
              <a:t>La délinquanc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A059"/>
                </a:solidFill>
                <a:cs typeface="Arial" pitchFamily="34" charset="0"/>
              </a:rPr>
              <a:t>L’intégration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2A059"/>
                </a:solidFill>
                <a:cs typeface="Arial" pitchFamily="34" charset="0"/>
              </a:rPr>
              <a:t>Le courag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endParaRPr lang="fr-FR" sz="1600" b="1" dirty="0">
              <a:solidFill>
                <a:srgbClr val="12A059"/>
              </a:solidFill>
              <a:cs typeface="Arial" pitchFamily="34" charset="0"/>
            </a:endParaRP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3CA39138-ECA3-CD63-4DDE-EADF9423958A}"/>
              </a:ext>
            </a:extLst>
          </p:cNvPr>
          <p:cNvSpPr txBox="1"/>
          <p:nvPr/>
        </p:nvSpPr>
        <p:spPr>
          <a:xfrm>
            <a:off x="4204228" y="2692762"/>
            <a:ext cx="1968500" cy="3077766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7C1E8"/>
                </a:solidFill>
                <a:cs typeface="Arial" pitchFamily="34" charset="0"/>
              </a:rPr>
              <a:t>Un phénomène plus que des personnes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7C1E8"/>
                </a:solidFill>
                <a:cs typeface="Arial" pitchFamily="34" charset="0"/>
              </a:rPr>
              <a:t>La pauvreté avant la guerr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7C1E8"/>
                </a:solidFill>
                <a:cs typeface="Arial" pitchFamily="34" charset="0"/>
              </a:rPr>
              <a:t>La politique d’accueil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17C1E8"/>
                </a:solidFill>
                <a:cs typeface="Arial" pitchFamily="34" charset="0"/>
              </a:rPr>
              <a:t>Le courag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17C1E8"/>
                </a:solidFill>
                <a:cs typeface="Arial" pitchFamily="34" charset="0"/>
              </a:rPr>
              <a:t>Trouver un travail</a:t>
            </a:r>
            <a:endParaRPr lang="fr-FR" sz="1600" b="1" noProof="0" dirty="0">
              <a:solidFill>
                <a:srgbClr val="17C1E8"/>
              </a:solidFill>
              <a:cs typeface="Arial" pitchFamily="34" charset="0"/>
            </a:endParaRP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D1A62B57-DE3F-8AFD-6735-5834F9460968}"/>
              </a:ext>
            </a:extLst>
          </p:cNvPr>
          <p:cNvSpPr txBox="1"/>
          <p:nvPr/>
        </p:nvSpPr>
        <p:spPr>
          <a:xfrm>
            <a:off x="6172728" y="2692762"/>
            <a:ext cx="1968500" cy="292387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94829F"/>
                </a:solidFill>
                <a:cs typeface="Arial" pitchFamily="34" charset="0"/>
              </a:rPr>
              <a:t>Un phénomène plus que des personnes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94829F"/>
                </a:solidFill>
                <a:cs typeface="Arial" pitchFamily="34" charset="0"/>
              </a:rPr>
              <a:t>La pauvreté 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94829F"/>
                </a:solidFill>
                <a:cs typeface="Arial" pitchFamily="34" charset="0"/>
              </a:rPr>
              <a:t>Un rapport émotionnel : tristesse, misère, détress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94829F"/>
                </a:solidFill>
                <a:cs typeface="Arial" pitchFamily="34" charset="0"/>
              </a:rPr>
              <a:t>Beaucoup</a:t>
            </a:r>
          </a:p>
        </p:txBody>
      </p:sp>
      <p:sp>
        <p:nvSpPr>
          <p:cNvPr id="16" name="ZoneTexte 15">
            <a:extLst>
              <a:ext uri="{FF2B5EF4-FFF2-40B4-BE49-F238E27FC236}">
                <a16:creationId xmlns:a16="http://schemas.microsoft.com/office/drawing/2014/main" id="{850C860C-836A-5738-3F31-BAE15D51519A}"/>
              </a:ext>
            </a:extLst>
          </p:cNvPr>
          <p:cNvSpPr txBox="1"/>
          <p:nvPr/>
        </p:nvSpPr>
        <p:spPr>
          <a:xfrm>
            <a:off x="8153817" y="2672535"/>
            <a:ext cx="1968500" cy="283154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F2C738"/>
                </a:solidFill>
                <a:cs typeface="Arial" pitchFamily="34" charset="0"/>
              </a:rPr>
              <a:t>Des personnes, leur vi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C738"/>
                </a:solidFill>
                <a:cs typeface="Arial" pitchFamily="34" charset="0"/>
              </a:rPr>
              <a:t>La peur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F2C738"/>
                </a:solidFill>
                <a:cs typeface="Arial" pitchFamily="34" charset="0"/>
              </a:rPr>
              <a:t>La fuite, la pauvreté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C738"/>
                </a:solidFill>
                <a:cs typeface="Arial" pitchFamily="34" charset="0"/>
              </a:rPr>
              <a:t>Trouver une place en France</a:t>
            </a:r>
            <a:endParaRPr lang="fr-FR" sz="1600" b="1" noProof="0" dirty="0">
              <a:solidFill>
                <a:srgbClr val="F2C738"/>
              </a:solidFill>
              <a:cs typeface="Arial" pitchFamily="34" charset="0"/>
            </a:endParaRP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F2C738"/>
                </a:solidFill>
                <a:cs typeface="Arial" pitchFamily="34" charset="0"/>
              </a:rPr>
              <a:t>L’insécurité, la délinquance</a:t>
            </a:r>
          </a:p>
        </p:txBody>
      </p:sp>
      <p:sp>
        <p:nvSpPr>
          <p:cNvPr id="17" name="ZoneTexte 16">
            <a:extLst>
              <a:ext uri="{FF2B5EF4-FFF2-40B4-BE49-F238E27FC236}">
                <a16:creationId xmlns:a16="http://schemas.microsoft.com/office/drawing/2014/main" id="{18E13772-2D51-4AA0-0846-E2152AF9EB86}"/>
              </a:ext>
            </a:extLst>
          </p:cNvPr>
          <p:cNvSpPr txBox="1"/>
          <p:nvPr/>
        </p:nvSpPr>
        <p:spPr>
          <a:xfrm>
            <a:off x="10165034" y="2672535"/>
            <a:ext cx="1968500" cy="273921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34389"/>
                </a:solidFill>
                <a:cs typeface="Arial" pitchFamily="34" charset="0"/>
              </a:rPr>
              <a:t>La Franc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34389"/>
                </a:solidFill>
                <a:cs typeface="Arial" pitchFamily="34" charset="0"/>
              </a:rPr>
              <a:t>Des profiteurs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34389"/>
                </a:solidFill>
                <a:cs typeface="Arial" pitchFamily="34" charset="0"/>
              </a:rPr>
              <a:t>Les aides sociales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34389"/>
                </a:solidFill>
                <a:cs typeface="Arial" pitchFamily="34" charset="0"/>
              </a:rPr>
              <a:t>Une invasion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34389"/>
                </a:solidFill>
                <a:cs typeface="Arial" pitchFamily="34" charset="0"/>
              </a:rPr>
              <a:t>L’insécurité, la délinquance</a:t>
            </a:r>
          </a:p>
          <a:p>
            <a:pPr marL="342900" indent="-34290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34389"/>
                </a:solidFill>
                <a:cs typeface="Arial" pitchFamily="34" charset="0"/>
              </a:rPr>
              <a:t>Un danger</a:t>
            </a:r>
          </a:p>
        </p:txBody>
      </p:sp>
    </p:spTree>
    <p:extLst>
      <p:ext uri="{BB962C8B-B14F-4D97-AF65-F5344CB8AC3E}">
        <p14:creationId xmlns:p14="http://schemas.microsoft.com/office/powerpoint/2010/main" val="14131530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868" y="302343"/>
            <a:ext cx="11306175" cy="581141"/>
          </a:xfrm>
        </p:spPr>
        <p:txBody>
          <a:bodyPr/>
          <a:lstStyle/>
          <a:p>
            <a:r>
              <a:rPr lang="fr-FR" dirty="0"/>
              <a:t>En synthèse : divergences et convergences </a:t>
            </a:r>
            <a:br>
              <a:rPr lang="fr-FR" dirty="0"/>
            </a:br>
            <a:r>
              <a:rPr lang="fr-FR" dirty="0"/>
              <a:t>des Militants désabusés avec les autres groupes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BE785AB6-48D4-4B99-7319-D9E55DF0534C}"/>
              </a:ext>
            </a:extLst>
          </p:cNvPr>
          <p:cNvSpPr txBox="1"/>
          <p:nvPr/>
        </p:nvSpPr>
        <p:spPr>
          <a:xfrm>
            <a:off x="7698497" y="1602286"/>
            <a:ext cx="2465419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highlight>
                  <a:srgbClr val="FF0000"/>
                </a:highlight>
                <a:cs typeface="Arial" pitchFamily="34" charset="0"/>
              </a:rPr>
              <a:t>Les zones de divergence</a:t>
            </a:r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03BE13C9-914E-8604-292E-F82008A8B684}"/>
              </a:ext>
            </a:extLst>
          </p:cNvPr>
          <p:cNvSpPr txBox="1"/>
          <p:nvPr/>
        </p:nvSpPr>
        <p:spPr>
          <a:xfrm>
            <a:off x="1737941" y="1602286"/>
            <a:ext cx="2755563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b="1" noProof="0" dirty="0">
                <a:solidFill>
                  <a:schemeClr val="bg1"/>
                </a:solidFill>
                <a:highlight>
                  <a:srgbClr val="009F5B"/>
                </a:highlight>
                <a:cs typeface="Arial" pitchFamily="34" charset="0"/>
              </a:rPr>
              <a:t>Les zones de convergence</a:t>
            </a:r>
          </a:p>
        </p:txBody>
      </p:sp>
      <p:cxnSp>
        <p:nvCxnSpPr>
          <p:cNvPr id="27" name="Connecteur droit 26">
            <a:extLst>
              <a:ext uri="{FF2B5EF4-FFF2-40B4-BE49-F238E27FC236}">
                <a16:creationId xmlns:a16="http://schemas.microsoft.com/office/drawing/2014/main" id="{DFC4E583-4D39-48F0-6E32-8999513D2D47}"/>
              </a:ext>
            </a:extLst>
          </p:cNvPr>
          <p:cNvCxnSpPr/>
          <p:nvPr/>
        </p:nvCxnSpPr>
        <p:spPr>
          <a:xfrm>
            <a:off x="6282794" y="2576486"/>
            <a:ext cx="0" cy="3284920"/>
          </a:xfrm>
          <a:prstGeom prst="line">
            <a:avLst/>
          </a:prstGeom>
          <a:ln w="38100">
            <a:solidFill>
              <a:srgbClr val="224099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ZoneTexte 28">
            <a:extLst>
              <a:ext uri="{FF2B5EF4-FFF2-40B4-BE49-F238E27FC236}">
                <a16:creationId xmlns:a16="http://schemas.microsoft.com/office/drawing/2014/main" id="{8C14ABD6-2163-747A-DA6D-08C902A6387E}"/>
              </a:ext>
            </a:extLst>
          </p:cNvPr>
          <p:cNvSpPr txBox="1"/>
          <p:nvPr/>
        </p:nvSpPr>
        <p:spPr>
          <a:xfrm>
            <a:off x="287868" y="1946353"/>
            <a:ext cx="5994926" cy="49244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Une m</a:t>
            </a:r>
            <a:r>
              <a:rPr lang="fr-FR" sz="1600" dirty="0" err="1">
                <a:solidFill>
                  <a:srgbClr val="224099"/>
                </a:solidFill>
                <a:cs typeface="Arial" pitchFamily="34" charset="0"/>
              </a:rPr>
              <a:t>ême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 image-type inscrite dans les esprits (personne peu qualifiée, de culture éloignée, en situation irrégulière, venue car contrainte, seule ou en groupe)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Une diversité du quotidien vécue positivement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a reconnaissance des discriminations et du racisme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 accueil qui doit être géré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e reconnaissance des difficultés rencontrées par les personnes migrant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L’accueil au niveau local montre une ouverture, une ambivalence, plutôt qu’une fermeture de princip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Des facteurs d’intégrations sont communément partagés (langue, laïcité)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’intégration passe aussi par des modes de vie partagé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 consensus sur la nécessité de l’accès au travail, source d’intégration importante. </a:t>
            </a:r>
          </a:p>
          <a:p>
            <a:pPr algn="l"/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 manque d’informations, de compréhension sur le sujet.</a:t>
            </a:r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</p:txBody>
      </p:sp>
      <p:sp>
        <p:nvSpPr>
          <p:cNvPr id="30" name="ZoneTexte 29">
            <a:extLst>
              <a:ext uri="{FF2B5EF4-FFF2-40B4-BE49-F238E27FC236}">
                <a16:creationId xmlns:a16="http://schemas.microsoft.com/office/drawing/2014/main" id="{8EE462A7-390C-37E3-7EE1-2E18B26C54F3}"/>
              </a:ext>
            </a:extLst>
          </p:cNvPr>
          <p:cNvSpPr txBox="1"/>
          <p:nvPr/>
        </p:nvSpPr>
        <p:spPr>
          <a:xfrm>
            <a:off x="6374311" y="1946353"/>
            <a:ext cx="5723905" cy="49244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Des priorités différentes, à toujours garder à l’esprit (pas la même priorisation de l’immigration selon les groupes, ou de la défense des droits humains par exemple)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Si le profil-type est le même, l’image des personnes migrantes est nettement plus positive chez les Militants désabusé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e rapport aux aides sociales (plutôt qu’au travail)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a perception de la menace sécuritaire et, en corollaire, le rapport aux forces de l’ordr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 plus fort degré d’empathie.</a:t>
            </a:r>
          </a:p>
          <a:p>
            <a:pPr algn="l"/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e critique beaucoup plus forte de l’action d’un grand nombre d’acteurs, à l’exception des associations et des écol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Un soutien beaucoup plus généralisé à l’accueil.</a:t>
            </a:r>
          </a:p>
        </p:txBody>
      </p:sp>
    </p:spTree>
    <p:extLst>
      <p:ext uri="{BB962C8B-B14F-4D97-AF65-F5344CB8AC3E}">
        <p14:creationId xmlns:p14="http://schemas.microsoft.com/office/powerpoint/2010/main" val="39857992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Image 18" descr="Une image contenant texte, capture d’écran, clipart&#10;&#10;Description générée automatiquement">
            <a:extLst>
              <a:ext uri="{FF2B5EF4-FFF2-40B4-BE49-F238E27FC236}">
                <a16:creationId xmlns:a16="http://schemas.microsoft.com/office/drawing/2014/main" id="{2BD75F54-F858-D1E6-E5D6-A48F0E7A224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85373" y="1543152"/>
            <a:ext cx="1510981" cy="2136831"/>
          </a:xfrm>
          <a:prstGeom prst="rect">
            <a:avLst/>
          </a:prstGeom>
        </p:spPr>
      </p:pic>
      <p:pic>
        <p:nvPicPr>
          <p:cNvPr id="15" name="Image 14" descr="Une image contenant texte, capture d’écran, Police, conception&#10;&#10;Description générée automatiquement">
            <a:extLst>
              <a:ext uri="{FF2B5EF4-FFF2-40B4-BE49-F238E27FC236}">
                <a16:creationId xmlns:a16="http://schemas.microsoft.com/office/drawing/2014/main" id="{4B62A943-C6EF-E958-79C2-89CF7D66F24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3083" y="2183652"/>
            <a:ext cx="1580210" cy="2235418"/>
          </a:xfrm>
          <a:prstGeom prst="rect">
            <a:avLst/>
          </a:prstGeom>
        </p:spPr>
      </p:pic>
      <p:pic>
        <p:nvPicPr>
          <p:cNvPr id="13" name="Image 12" descr="Une image contenant texte, affiche, Visage humain, art&#10;&#10;Description générée automatiquement">
            <a:extLst>
              <a:ext uri="{FF2B5EF4-FFF2-40B4-BE49-F238E27FC236}">
                <a16:creationId xmlns:a16="http://schemas.microsoft.com/office/drawing/2014/main" id="{B5EBA200-4CB5-0E31-E2D2-E4B05788AC2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3121" y="4454355"/>
            <a:ext cx="1621398" cy="2235418"/>
          </a:xfrm>
          <a:prstGeom prst="rect">
            <a:avLst/>
          </a:prstGeom>
        </p:spPr>
      </p:pic>
      <p:pic>
        <p:nvPicPr>
          <p:cNvPr id="17" name="Image 16" descr="Une image contenant texte, capture d’écran, Police, Marque&#10;&#10;Description générée automatiquement">
            <a:extLst>
              <a:ext uri="{FF2B5EF4-FFF2-40B4-BE49-F238E27FC236}">
                <a16:creationId xmlns:a16="http://schemas.microsoft.com/office/drawing/2014/main" id="{8874DA1A-EEA4-39C2-0DDC-BE179F259C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78143" y="3648566"/>
            <a:ext cx="1498457" cy="1967300"/>
          </a:xfrm>
          <a:prstGeom prst="rect">
            <a:avLst/>
          </a:prstGeom>
        </p:spPr>
      </p:pic>
      <p:sp>
        <p:nvSpPr>
          <p:cNvPr id="3" name="Espace réservé du numéro de diapositive 2">
            <a:extLst>
              <a:ext uri="{FF2B5EF4-FFF2-40B4-BE49-F238E27FC236}">
                <a16:creationId xmlns:a16="http://schemas.microsoft.com/office/drawing/2014/main" id="{0A03BDEA-3ED8-50CE-A9FC-0FA606CAB71F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870704B-CE94-48CC-AF30-84932A1262A7}" type="slidenum">
              <a:rPr lang="en-ZA" smtClean="0"/>
              <a:pPr/>
              <a:t>3</a:t>
            </a:fld>
            <a:endParaRPr lang="en-ZA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Ce qui nous rassemble est plus important </a:t>
            </a:r>
          </a:p>
          <a:p>
            <a:pPr lvl="1"/>
            <a:r>
              <a:rPr lang="fr-FR" sz="3200" b="1" dirty="0">
                <a:solidFill>
                  <a:schemeClr val="bg1"/>
                </a:solidFill>
              </a:rPr>
              <a:t>que ce qui nous divise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E5B3FE46-57EB-9FCE-0A8D-90E41B36BC75}"/>
              </a:ext>
            </a:extLst>
          </p:cNvPr>
          <p:cNvSpPr txBox="1"/>
          <p:nvPr/>
        </p:nvSpPr>
        <p:spPr>
          <a:xfrm>
            <a:off x="625643" y="2039815"/>
            <a:ext cx="6560604" cy="34470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Un double point de départ : </a:t>
            </a:r>
          </a:p>
          <a:p>
            <a:pPr marL="620845" lvl="1" indent="-1714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a guerre en Syrie et la « crise des réfugiés » en Europe en 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2015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.</a:t>
            </a:r>
          </a:p>
          <a:p>
            <a:pPr marL="620845" lvl="1" indent="-171450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L’assassinat de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Jox Cox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, députée britannique, en 2016.</a:t>
            </a:r>
          </a:p>
          <a:p>
            <a:pPr marL="620845" lvl="1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Création du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réseau More in Common en 2017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Un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objectif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 : mieux comprendre les </a:t>
            </a:r>
            <a:r>
              <a:rPr lang="fr-FR" sz="1600" noProof="0">
                <a:solidFill>
                  <a:srgbClr val="224099"/>
                </a:solidFill>
                <a:cs typeface="Arial" pitchFamily="34" charset="0"/>
              </a:rPr>
              <a:t>représentations et 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les dynamiques de </a:t>
            </a:r>
            <a:r>
              <a:rPr lang="fr-FR" sz="1600" noProof="0">
                <a:solidFill>
                  <a:srgbClr val="224099"/>
                </a:solidFill>
                <a:cs typeface="Arial" pitchFamily="34" charset="0"/>
              </a:rPr>
              <a:t>l’opinion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, pour s’attaquer plus efficacement aux facteurs de division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et renforcer les points de convergence.</a:t>
            </a:r>
          </a:p>
          <a:p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Notre travail s’est porté d’abord sur le rapport aux réfugiés et aux migrants en Europe, puis s’est élargi à de nombreuses </a:t>
            </a:r>
            <a:r>
              <a:rPr lang="fr-FR" sz="1600" noProof="0">
                <a:solidFill>
                  <a:srgbClr val="224099"/>
                </a:solidFill>
                <a:cs typeface="Arial" pitchFamily="34" charset="0"/>
              </a:rPr>
              <a:t>thématiques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 (climat, abstention, rapport à l’information…). 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21" name="Image 20" descr="Une image contenant texte, capture d’écran, Police, Marque&#10;&#10;Description générée automatiquement">
            <a:extLst>
              <a:ext uri="{FF2B5EF4-FFF2-40B4-BE49-F238E27FC236}">
                <a16:creationId xmlns:a16="http://schemas.microsoft.com/office/drawing/2014/main" id="{48E32D81-5517-1193-5615-2E0A4B05CF3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65511" y="2352879"/>
            <a:ext cx="1507665" cy="2205088"/>
          </a:xfrm>
          <a:prstGeom prst="rect">
            <a:avLst/>
          </a:prstGeom>
        </p:spPr>
      </p:pic>
      <p:pic>
        <p:nvPicPr>
          <p:cNvPr id="23" name="Image 22" descr="Une image contenant texte, capture d’écran, Police, Marque&#10;&#10;Description générée automatiquement">
            <a:extLst>
              <a:ext uri="{FF2B5EF4-FFF2-40B4-BE49-F238E27FC236}">
                <a16:creationId xmlns:a16="http://schemas.microsoft.com/office/drawing/2014/main" id="{002D6A1E-C751-CC40-4947-B25B0F11A0D7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4528" y="4545841"/>
            <a:ext cx="1507665" cy="21929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8491854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A garder à l’esprit dans le dialogue 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4AC51DE3-54F5-26D3-65B9-401B88B01BF2}"/>
              </a:ext>
            </a:extLst>
          </p:cNvPr>
          <p:cNvSpPr txBox="1"/>
          <p:nvPr/>
        </p:nvSpPr>
        <p:spPr>
          <a:xfrm>
            <a:off x="598039" y="1796662"/>
            <a:ext cx="11306175" cy="30777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2000" b="1" dirty="0">
                <a:solidFill>
                  <a:srgbClr val="224099"/>
                </a:solidFill>
                <a:cs typeface="Arial" pitchFamily="34" charset="0"/>
              </a:rPr>
              <a:t>Partir de là où les personnes sont, pas de là où on voudrait les emmener.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8A0CF40C-C971-FD1B-FE4E-5B2365683F8C}"/>
              </a:ext>
            </a:extLst>
          </p:cNvPr>
          <p:cNvSpPr/>
          <p:nvPr/>
        </p:nvSpPr>
        <p:spPr>
          <a:xfrm>
            <a:off x="154379" y="3327460"/>
            <a:ext cx="5177642" cy="2968831"/>
          </a:xfrm>
          <a:prstGeom prst="rect">
            <a:avLst/>
          </a:prstGeom>
          <a:solidFill>
            <a:srgbClr val="FFFFFF"/>
          </a:solidFill>
          <a:ln w="38100">
            <a:solidFill>
              <a:srgbClr val="17C1E8"/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7" name="ZoneTexte 6">
            <a:extLst>
              <a:ext uri="{FF2B5EF4-FFF2-40B4-BE49-F238E27FC236}">
                <a16:creationId xmlns:a16="http://schemas.microsoft.com/office/drawing/2014/main" id="{E2F1CCF5-C208-3904-088A-042F41DF3B8C}"/>
              </a:ext>
            </a:extLst>
          </p:cNvPr>
          <p:cNvSpPr txBox="1"/>
          <p:nvPr/>
        </p:nvSpPr>
        <p:spPr>
          <a:xfrm>
            <a:off x="380011" y="3603249"/>
            <a:ext cx="4726380" cy="2446824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Par exemple, il est possible, dans certaines situations, de 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commencer le dialogue en les faisant parler, en leur posant quelques questions,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pour mieux comprendre où elles se situent, leur vision du monde et de ces enjeux :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eurs priorités pour notre pays ?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dans l’accueil des personnes migrantes, ce qui les freine le plus, leur fait le plus peur ? 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es questions qu’elles se posent sur le sujet ?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8924E51-903E-80DF-7A87-26DC0A11A21E}"/>
              </a:ext>
            </a:extLst>
          </p:cNvPr>
          <p:cNvSpPr/>
          <p:nvPr/>
        </p:nvSpPr>
        <p:spPr>
          <a:xfrm>
            <a:off x="5486400" y="4225235"/>
            <a:ext cx="2666008" cy="1342971"/>
          </a:xfrm>
          <a:prstGeom prst="rect">
            <a:avLst/>
          </a:prstGeom>
          <a:solidFill>
            <a:srgbClr val="FFFFFF"/>
          </a:solidFill>
          <a:ln w="38100">
            <a:solidFill>
              <a:srgbClr val="17C1E8"/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016F88C-77D7-2AC4-6E24-7D1B1A7B338E}"/>
              </a:ext>
            </a:extLst>
          </p:cNvPr>
          <p:cNvSpPr txBox="1"/>
          <p:nvPr/>
        </p:nvSpPr>
        <p:spPr>
          <a:xfrm>
            <a:off x="5703124" y="4404280"/>
            <a:ext cx="2232559" cy="984885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Accepter les craintes: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a sensation de jugement met fin au dialogue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0992060-7288-ED0B-8C2D-B57737CF46CF}"/>
              </a:ext>
            </a:extLst>
          </p:cNvPr>
          <p:cNvSpPr/>
          <p:nvPr/>
        </p:nvSpPr>
        <p:spPr>
          <a:xfrm>
            <a:off x="8306788" y="3327460"/>
            <a:ext cx="3597426" cy="3158836"/>
          </a:xfrm>
          <a:prstGeom prst="rect">
            <a:avLst/>
          </a:prstGeom>
          <a:solidFill>
            <a:srgbClr val="FFFFFF"/>
          </a:solidFill>
          <a:ln w="38100">
            <a:solidFill>
              <a:srgbClr val="17C1E8"/>
            </a:solidFill>
            <a:prstDash val="sysDot"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429F2C95-97D9-7EDE-4641-1AFCA96E4AA8}"/>
              </a:ext>
            </a:extLst>
          </p:cNvPr>
          <p:cNvSpPr txBox="1"/>
          <p:nvPr/>
        </p:nvSpPr>
        <p:spPr>
          <a:xfrm>
            <a:off x="8502732" y="3473142"/>
            <a:ext cx="3181787" cy="2862322"/>
          </a:xfrm>
          <a:prstGeom prst="rect">
            <a:avLst/>
          </a:prstGeom>
          <a:noFill/>
          <a:ln w="28575">
            <a:noFill/>
            <a:prstDash val="sysDot"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L’accueil des personnes migrantes est une question de 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« pourquoi »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mais aussi de 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« comment ». </a:t>
            </a:r>
          </a:p>
          <a:p>
            <a:pPr>
              <a:spcAft>
                <a:spcPts val="600"/>
              </a:spcAft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C’est en abordant cette question qu’il est possible de rassurer les ambivalents.</a:t>
            </a:r>
          </a:p>
          <a:p>
            <a:pPr>
              <a:spcAft>
                <a:spcPts val="600"/>
              </a:spcAft>
            </a:pP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Plus les exemples seront concrets et proches d’eux, de leur vie (locaux par exemple), plus ils seront marquants. </a:t>
            </a:r>
          </a:p>
        </p:txBody>
      </p:sp>
      <p:pic>
        <p:nvPicPr>
          <p:cNvPr id="17" name="Graphique 16" descr="Empreintes de chaussure avec un remplissage uni">
            <a:extLst>
              <a:ext uri="{FF2B5EF4-FFF2-40B4-BE49-F238E27FC236}">
                <a16:creationId xmlns:a16="http://schemas.microsoft.com/office/drawing/2014/main" id="{F874D61F-B898-671E-B480-ABD86FEE73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550523" y="2196933"/>
            <a:ext cx="914400" cy="914400"/>
          </a:xfrm>
          <a:prstGeom prst="rect">
            <a:avLst/>
          </a:prstGeom>
        </p:spPr>
      </p:pic>
      <p:pic>
        <p:nvPicPr>
          <p:cNvPr id="18" name="Graphique 17" descr="Oreille avec un remplissage uni">
            <a:extLst>
              <a:ext uri="{FF2B5EF4-FFF2-40B4-BE49-F238E27FC236}">
                <a16:creationId xmlns:a16="http://schemas.microsoft.com/office/drawing/2014/main" id="{D22D9764-FFA8-EB8E-D680-F0BE5413805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227809" y="2863416"/>
            <a:ext cx="739833" cy="739833"/>
          </a:xfrm>
          <a:prstGeom prst="rect">
            <a:avLst/>
          </a:prstGeom>
        </p:spPr>
      </p:pic>
      <p:pic>
        <p:nvPicPr>
          <p:cNvPr id="22" name="Graphique 21" descr="Questions avec un remplissage uni">
            <a:extLst>
              <a:ext uri="{FF2B5EF4-FFF2-40B4-BE49-F238E27FC236}">
                <a16:creationId xmlns:a16="http://schemas.microsoft.com/office/drawing/2014/main" id="{514D9775-7B72-6928-04A0-8617AB636AF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464923" y="3674878"/>
            <a:ext cx="697673" cy="697673"/>
          </a:xfrm>
          <a:prstGeom prst="rect">
            <a:avLst/>
          </a:prstGeom>
        </p:spPr>
      </p:pic>
      <p:pic>
        <p:nvPicPr>
          <p:cNvPr id="24" name="Graphique 23" descr="Puzzle avec un remplissage uni">
            <a:extLst>
              <a:ext uri="{FF2B5EF4-FFF2-40B4-BE49-F238E27FC236}">
                <a16:creationId xmlns:a16="http://schemas.microsoft.com/office/drawing/2014/main" id="{3C04FF1E-4621-F9B9-C84A-DEA02D51C49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826131" y="2953962"/>
            <a:ext cx="558740" cy="55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74619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/>
      <p:bldP spid="11" grpId="0" animBg="1"/>
      <p:bldP spid="12" grpId="0"/>
      <p:bldP spid="13" grpId="0" animBg="1"/>
      <p:bldP spid="1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Des pistes d’actions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4AC51DE3-54F5-26D3-65B9-401B88B01BF2}"/>
              </a:ext>
            </a:extLst>
          </p:cNvPr>
          <p:cNvSpPr txBox="1"/>
          <p:nvPr/>
        </p:nvSpPr>
        <p:spPr>
          <a:xfrm>
            <a:off x="493535" y="1679093"/>
            <a:ext cx="11306175" cy="492442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Informer : 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renforcer la compréhension, y compris celle des Militants. Des ordres de grandeur, des informations concrètes (qui, où, comment, pourquoi). Ce travail pédagogique est essentiel, pour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diminuer la sensation de flou qui entretient le sentiment d’absence de 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contrôle et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d’impuissance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Humaniser :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r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enforcer la notion de « personnes », de « vie », mais aussi de « courage ».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Incarner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 au maximum.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Commencer par activer l’empathie plutôt que l’indignation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L’empathie ne se suffit pas à elle-même : 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pour répondre aux craintes qui se cachent derrière l’ambivalence d’une grande partie des Français, répondre aussi aux considérations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du « comment on accueille » 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par des exemples concrets plutôt que par des principes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Une adhésion à l’importance de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partager des modes de vie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, mais en parallèle un sentiment de « menace culturelle ». Y répondre plutôt que de l’écarter, par l’humanisation, le partage, la rencontre. </a:t>
            </a: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Montrer des modes de vie partagés</a:t>
            </a: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car l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’expérience personnelle de la diversité est perçue plutôt positivement.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600" b="1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b="1" noProof="0" dirty="0">
                <a:solidFill>
                  <a:srgbClr val="224099"/>
                </a:solidFill>
                <a:cs typeface="Arial" pitchFamily="34" charset="0"/>
              </a:rPr>
              <a:t>L’apprentissage du français et le travail </a:t>
            </a:r>
            <a:r>
              <a:rPr lang="fr-FR" sz="1600" noProof="0" dirty="0">
                <a:solidFill>
                  <a:srgbClr val="224099"/>
                </a:solidFill>
                <a:cs typeface="Arial" pitchFamily="34" charset="0"/>
              </a:rPr>
              <a:t>: des axes d’adhésion consensuels.</a:t>
            </a:r>
          </a:p>
          <a:p>
            <a:pPr algn="l"/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600" b="1" dirty="0">
                <a:solidFill>
                  <a:srgbClr val="224099"/>
                </a:solidFill>
                <a:cs typeface="Arial" pitchFamily="34" charset="0"/>
              </a:rPr>
              <a:t>Le travail : 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permet aussi de faire évoluer le « profil-type » spontanément évoqué (peu qualifiés, illégaux, de cultures très éloignées). Diminue également la tension autour des aides sociales. Met la lumière sur le désir d’intégration des personnes migrantes (vs. idée d’assistanat). </a:t>
            </a:r>
          </a:p>
        </p:txBody>
      </p:sp>
    </p:spTree>
    <p:extLst>
      <p:ext uri="{BB962C8B-B14F-4D97-AF65-F5344CB8AC3E}">
        <p14:creationId xmlns:p14="http://schemas.microsoft.com/office/powerpoint/2010/main" val="6030401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Les 6 amplificateurs d’engagement collectif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graphicFrame>
        <p:nvGraphicFramePr>
          <p:cNvPr id="2" name="Diagramme 1">
            <a:extLst>
              <a:ext uri="{FF2B5EF4-FFF2-40B4-BE49-F238E27FC236}">
                <a16:creationId xmlns:a16="http://schemas.microsoft.com/office/drawing/2014/main" id="{CD4FF82A-A547-18D4-FC99-3EF018C70C6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33868707"/>
              </p:ext>
            </p:extLst>
          </p:nvPr>
        </p:nvGraphicFramePr>
        <p:xfrm>
          <a:off x="642767" y="1589343"/>
          <a:ext cx="11154393" cy="49433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5" r:lo="rId6" r:qs="rId7" r:cs="rId8"/>
          </a:graphicData>
        </a:graphic>
      </p:graphicFrame>
      <p:sp>
        <p:nvSpPr>
          <p:cNvPr id="3" name="ZoneTexte 2">
            <a:extLst>
              <a:ext uri="{FF2B5EF4-FFF2-40B4-BE49-F238E27FC236}">
                <a16:creationId xmlns:a16="http://schemas.microsoft.com/office/drawing/2014/main" id="{6EE7A313-9A4A-A6CF-D6EE-9436A19C49BB}"/>
              </a:ext>
            </a:extLst>
          </p:cNvPr>
          <p:cNvSpPr txBox="1"/>
          <p:nvPr/>
        </p:nvSpPr>
        <p:spPr>
          <a:xfrm>
            <a:off x="642767" y="6360619"/>
            <a:ext cx="2127185" cy="246221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The </a:t>
            </a:r>
            <a:r>
              <a:rPr lang="fr-FR" sz="1600" dirty="0" err="1">
                <a:solidFill>
                  <a:srgbClr val="224099"/>
                </a:solidFill>
                <a:cs typeface="Arial" pitchFamily="34" charset="0"/>
              </a:rPr>
              <a:t>Endless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 </a:t>
            </a:r>
            <a:r>
              <a:rPr lang="fr-FR" sz="1600" dirty="0" err="1">
                <a:solidFill>
                  <a:srgbClr val="224099"/>
                </a:solidFill>
                <a:cs typeface="Arial" pitchFamily="34" charset="0"/>
              </a:rPr>
              <a:t>Sea</a:t>
            </a:r>
            <a:r>
              <a:rPr lang="fr-FR" sz="1600" dirty="0">
                <a:solidFill>
                  <a:srgbClr val="224099"/>
                </a:solidFill>
                <a:cs typeface="Arial" pitchFamily="34" charset="0"/>
              </a:rPr>
              <a:t>, 2021</a:t>
            </a:r>
            <a:endParaRPr lang="fr-FR" sz="1600" noProof="0" dirty="0">
              <a:solidFill>
                <a:srgbClr val="2240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81116767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3"/>
    </p:ext>
  </p:extLs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Et si on essayait ?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33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Ecoutons et réfléchissons ensemble</a:t>
            </a:r>
          </a:p>
        </p:txBody>
      </p:sp>
    </p:spTree>
    <p:extLst>
      <p:ext uri="{BB962C8B-B14F-4D97-AF65-F5344CB8AC3E}">
        <p14:creationId xmlns:p14="http://schemas.microsoft.com/office/powerpoint/2010/main" val="271023293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Attention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67118C25-3797-2C5C-9697-9980BC6FEF68}"/>
              </a:ext>
            </a:extLst>
          </p:cNvPr>
          <p:cNvSpPr txBox="1"/>
          <p:nvPr/>
        </p:nvSpPr>
        <p:spPr>
          <a:xfrm>
            <a:off x="818743" y="2736502"/>
            <a:ext cx="10554514" cy="13849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Les extraits de groupes de discussion organisés par Destin Commun présentés ensuite reflètent certains des arguments les plus souvent repris pour exprimer des craintes envers l’accueil de personnes migrantes. </a:t>
            </a:r>
          </a:p>
          <a:p>
            <a:pPr algn="ctr"/>
            <a:r>
              <a:rPr lang="fr-FR" sz="1800" b="1" dirty="0">
                <a:solidFill>
                  <a:srgbClr val="224099"/>
                </a:solidFill>
                <a:highlight>
                  <a:srgbClr val="FFFF00"/>
                </a:highlight>
                <a:cs typeface="Arial" pitchFamily="34" charset="0"/>
              </a:rPr>
              <a:t>Ces extraits</a:t>
            </a:r>
            <a:r>
              <a:rPr lang="fr-FR" sz="1800" b="1" noProof="0" dirty="0">
                <a:solidFill>
                  <a:srgbClr val="224099"/>
                </a:solidFill>
                <a:highlight>
                  <a:srgbClr val="FFFF00"/>
                </a:highlight>
                <a:cs typeface="Arial" pitchFamily="34" charset="0"/>
              </a:rPr>
              <a:t> ne reflètent pas l’entièreté des échanges, </a:t>
            </a:r>
          </a:p>
          <a:p>
            <a:pPr algn="ctr"/>
            <a:r>
              <a:rPr lang="fr-FR" sz="1800" b="1" noProof="0" dirty="0">
                <a:solidFill>
                  <a:srgbClr val="224099"/>
                </a:solidFill>
                <a:highlight>
                  <a:srgbClr val="FFFF00"/>
                </a:highlight>
                <a:cs typeface="Arial" pitchFamily="34" charset="0"/>
              </a:rPr>
              <a:t>des arguments et perceptions exprimés au cours de ces groupes de discussion.</a:t>
            </a:r>
          </a:p>
        </p:txBody>
      </p:sp>
    </p:spTree>
    <p:extLst>
      <p:ext uri="{BB962C8B-B14F-4D97-AF65-F5344CB8AC3E}">
        <p14:creationId xmlns:p14="http://schemas.microsoft.com/office/powerpoint/2010/main" val="1098072434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#3 Extrait de nos groupes de discussion 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2" name="Image 1" descr="Une image contenant habits, chaussures, personne, debout&#10;&#10;Description générée automatiquement">
            <a:extLst>
              <a:ext uri="{FF2B5EF4-FFF2-40B4-BE49-F238E27FC236}">
                <a16:creationId xmlns:a16="http://schemas.microsoft.com/office/drawing/2014/main" id="{B7D73BF0-CA44-A0BE-F7A8-458F3664D930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87533" y="2585122"/>
            <a:ext cx="2826327" cy="2826327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56DB3469-4B17-369D-480B-BA31CC11D426}"/>
              </a:ext>
            </a:extLst>
          </p:cNvPr>
          <p:cNvSpPr txBox="1"/>
          <p:nvPr/>
        </p:nvSpPr>
        <p:spPr>
          <a:xfrm>
            <a:off x="3714199" y="2585122"/>
            <a:ext cx="8190016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Virginie*, 48 ans, Nancy, assistance maternelle</a:t>
            </a:r>
          </a:p>
          <a:p>
            <a:pPr algn="l"/>
            <a:r>
              <a:rPr lang="fr-FR" sz="1800" b="1" i="1" dirty="0">
                <a:solidFill>
                  <a:srgbClr val="17C1E8"/>
                </a:solidFill>
                <a:cs typeface="Arial" pitchFamily="34" charset="0"/>
              </a:rPr>
              <a:t>La concurrence des publics</a:t>
            </a:r>
            <a:endParaRPr lang="fr-FR" sz="1800" b="1" i="1" noProof="0" dirty="0">
              <a:solidFill>
                <a:srgbClr val="17C1E8"/>
              </a:solidFill>
              <a:cs typeface="Arial" pitchFamily="34" charset="0"/>
            </a:endParaRPr>
          </a:p>
        </p:txBody>
      </p:sp>
      <p:pic>
        <p:nvPicPr>
          <p:cNvPr id="6" name="Extrait - FG LPC Id - concurrence des publics.m4a">
            <a:hlinkClick r:id="" action="ppaction://media"/>
            <a:extLst>
              <a:ext uri="{FF2B5EF4-FFF2-40B4-BE49-F238E27FC236}">
                <a16:creationId xmlns:a16="http://schemas.microsoft.com/office/drawing/2014/main" id="{35DB9A17-3163-0957-2156-D2AF306D5157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974607" y="3429000"/>
            <a:ext cx="1684977" cy="16849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4289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30196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6"/>
                </p:tgtEl>
              </p:cMediaNode>
            </p:audio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#2 Extrait de nos groupes de discussion 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2" name="Image 1" descr="Une image contenant chaussures, habits, illustration, dessin humoristique&#10;&#10;Description générée automatiquement">
            <a:extLst>
              <a:ext uri="{FF2B5EF4-FFF2-40B4-BE49-F238E27FC236}">
                <a16:creationId xmlns:a16="http://schemas.microsoft.com/office/drawing/2014/main" id="{DA066A96-4421-3A79-696B-F2234A03019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421" y="2415510"/>
            <a:ext cx="3449993" cy="3449993"/>
          </a:xfrm>
          <a:prstGeom prst="rect">
            <a:avLst/>
          </a:prstGeom>
        </p:spPr>
      </p:pic>
      <p:pic>
        <p:nvPicPr>
          <p:cNvPr id="3" name="Extrait FG - Stab - trop nombreux.m4a">
            <a:hlinkClick r:id="" action="ppaction://media"/>
            <a:extLst>
              <a:ext uri="{FF2B5EF4-FFF2-40B4-BE49-F238E27FC236}">
                <a16:creationId xmlns:a16="http://schemas.microsoft.com/office/drawing/2014/main" id="{60788381-271D-5AC8-C4CF-0B09888B234E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6271490" y="3282354"/>
            <a:ext cx="1708727" cy="1708727"/>
          </a:xfrm>
          <a:prstGeom prst="rect">
            <a:avLst/>
          </a:prstGeom>
        </p:spPr>
      </p:pic>
      <p:sp>
        <p:nvSpPr>
          <p:cNvPr id="4" name="ZoneTexte 3">
            <a:extLst>
              <a:ext uri="{FF2B5EF4-FFF2-40B4-BE49-F238E27FC236}">
                <a16:creationId xmlns:a16="http://schemas.microsoft.com/office/drawing/2014/main" id="{50DBF89D-A3B9-7901-75E7-518331964C5D}"/>
              </a:ext>
            </a:extLst>
          </p:cNvPr>
          <p:cNvSpPr txBox="1"/>
          <p:nvPr/>
        </p:nvSpPr>
        <p:spPr>
          <a:xfrm>
            <a:off x="3607144" y="2593640"/>
            <a:ext cx="8190016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Marc*, 58 ans, dans la région de Caen, directeur d’un centre socio-culturel</a:t>
            </a:r>
          </a:p>
          <a:p>
            <a:pPr algn="l"/>
            <a:r>
              <a:rPr lang="fr-FR" sz="1800" b="1" i="1" dirty="0">
                <a:solidFill>
                  <a:srgbClr val="17C1E8"/>
                </a:solidFill>
                <a:cs typeface="Arial" pitchFamily="34" charset="0"/>
              </a:rPr>
              <a:t>Un défi trop grand</a:t>
            </a:r>
            <a:endParaRPr lang="fr-FR" sz="1800" b="1" i="1" noProof="0" dirty="0">
              <a:solidFill>
                <a:srgbClr val="17C1E8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6376266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56480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3"/>
                </p:tgtEl>
              </p:cMediaNode>
            </p:audio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#1 Extrait de nos groupes de discussion 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3" name="Image 2" descr="Une image contenant chaussures, dessin humoristique, habits, debout&#10;&#10;Description générée automatiquement">
            <a:extLst>
              <a:ext uri="{FF2B5EF4-FFF2-40B4-BE49-F238E27FC236}">
                <a16:creationId xmlns:a16="http://schemas.microsoft.com/office/drawing/2014/main" id="{341A78E3-4DF3-7789-7F5B-53C88310905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68135" y="2682871"/>
            <a:ext cx="2967787" cy="2967787"/>
          </a:xfrm>
          <a:prstGeom prst="rect">
            <a:avLst/>
          </a:prstGeom>
        </p:spPr>
      </p:pic>
      <p:sp>
        <p:nvSpPr>
          <p:cNvPr id="15" name="ZoneTexte 14">
            <a:extLst>
              <a:ext uri="{FF2B5EF4-FFF2-40B4-BE49-F238E27FC236}">
                <a16:creationId xmlns:a16="http://schemas.microsoft.com/office/drawing/2014/main" id="{27DF2859-A1A4-2954-B321-E0E99D697852}"/>
              </a:ext>
            </a:extLst>
          </p:cNvPr>
          <p:cNvSpPr txBox="1"/>
          <p:nvPr/>
        </p:nvSpPr>
        <p:spPr>
          <a:xfrm>
            <a:off x="3335921" y="2358970"/>
            <a:ext cx="7806695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Julien*, 42 ans</a:t>
            </a:r>
          </a:p>
          <a:p>
            <a:pPr algn="l"/>
            <a:r>
              <a:rPr lang="fr-FR" sz="1800" b="1" i="1" dirty="0">
                <a:solidFill>
                  <a:srgbClr val="17C1E8"/>
                </a:solidFill>
                <a:cs typeface="Arial" pitchFamily="34" charset="0"/>
              </a:rPr>
              <a:t>La concurrence des salaires </a:t>
            </a:r>
            <a:endParaRPr lang="fr-FR" sz="1800" b="1" i="1" noProof="0" dirty="0">
              <a:solidFill>
                <a:srgbClr val="17C1E8"/>
              </a:solidFill>
              <a:cs typeface="Arial" pitchFamily="34" charset="0"/>
            </a:endParaRPr>
          </a:p>
        </p:txBody>
      </p:sp>
      <p:pic>
        <p:nvPicPr>
          <p:cNvPr id="17" name="Extrait-FG-LO-concurrence salaires.m4a">
            <a:hlinkClick r:id="" action="ppaction://media"/>
            <a:extLst>
              <a:ext uri="{FF2B5EF4-FFF2-40B4-BE49-F238E27FC236}">
                <a16:creationId xmlns:a16="http://schemas.microsoft.com/office/drawing/2014/main" id="{E950524C-7048-BBD0-AC82-07E2A9C13FC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558972" y="3236356"/>
            <a:ext cx="2017486" cy="20174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529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2" dur="19040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audio>
              <p:cMediaNode vol="80000">
                <p:cTn id="13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17"/>
                </p:tgtEl>
              </p:cMediaNode>
            </p:audio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DA9F2D91-D603-F868-A1AF-B9046052DCF7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fr-FR" sz="1600" dirty="0"/>
          </a:p>
        </p:txBody>
      </p:sp>
      <p:sp>
        <p:nvSpPr>
          <p:cNvPr id="8" name="Titre 7">
            <a:extLst>
              <a:ext uri="{FF2B5EF4-FFF2-40B4-BE49-F238E27FC236}">
                <a16:creationId xmlns:a16="http://schemas.microsoft.com/office/drawing/2014/main" id="{8DA58A59-063A-2486-5D42-0F51BEF7AF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8040" y="497381"/>
            <a:ext cx="11306175" cy="581141"/>
          </a:xfrm>
        </p:spPr>
        <p:txBody>
          <a:bodyPr/>
          <a:lstStyle/>
          <a:p>
            <a:r>
              <a:rPr lang="fr-FR" dirty="0"/>
              <a:t>A vous d’agir !</a:t>
            </a:r>
          </a:p>
        </p:txBody>
      </p:sp>
      <p:pic>
        <p:nvPicPr>
          <p:cNvPr id="10" name="Image 9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DA24DC57-1236-700D-6AE3-A128DAB7CEB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8C8344B8-FBBE-8E10-0354-C56BAEA05D39}"/>
              </a:ext>
            </a:extLst>
          </p:cNvPr>
          <p:cNvSpPr txBox="1"/>
          <p:nvPr/>
        </p:nvSpPr>
        <p:spPr>
          <a:xfrm>
            <a:off x="598040" y="1828532"/>
            <a:ext cx="11286521" cy="415498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A partir de l’extrait choisi, réfléchissez collectivement sur : </a:t>
            </a:r>
          </a:p>
          <a:p>
            <a:pPr algn="l"/>
            <a:endParaRPr lang="fr-FR" sz="18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Ce que vous diriez, répondriez </a:t>
            </a:r>
            <a:r>
              <a:rPr lang="fr-FR" sz="1800" b="1" dirty="0">
                <a:solidFill>
                  <a:srgbClr val="224099"/>
                </a:solidFill>
                <a:cs typeface="Arial" pitchFamily="34" charset="0"/>
              </a:rPr>
              <a:t>spontanément</a:t>
            </a: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, sans filtre, si vous disiez</a:t>
            </a:r>
            <a:r>
              <a:rPr lang="fr-FR" sz="1800" b="1" dirty="0">
                <a:solidFill>
                  <a:srgbClr val="224099"/>
                </a:solidFill>
                <a:cs typeface="Arial" pitchFamily="34" charset="0"/>
              </a:rPr>
              <a:t> le fond de votre pensée. 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800" noProof="0" dirty="0">
              <a:solidFill>
                <a:srgbClr val="224099"/>
              </a:solidFill>
              <a:cs typeface="Arial" pitchFamily="34" charset="0"/>
            </a:endParaRPr>
          </a:p>
          <a:p>
            <a:pPr algn="l"/>
            <a:endParaRPr lang="fr-FR" sz="18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800" noProof="0" dirty="0">
                <a:solidFill>
                  <a:srgbClr val="224099"/>
                </a:solidFill>
                <a:cs typeface="Arial" pitchFamily="34" charset="0"/>
              </a:rPr>
              <a:t>En pensant à votre public, est-ce que vous </a:t>
            </a: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considérez que cette réponse, cet argumentaire fonctionnerait, aurait </a:t>
            </a:r>
            <a:r>
              <a:rPr lang="fr-FR" sz="1800" b="1" dirty="0">
                <a:solidFill>
                  <a:srgbClr val="224099"/>
                </a:solidFill>
                <a:cs typeface="Arial" pitchFamily="34" charset="0"/>
              </a:rPr>
              <a:t>un impact positif</a:t>
            </a: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 ? Si oui pourquoi ? Si non pourquoi ?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800" noProof="0" dirty="0">
              <a:solidFill>
                <a:srgbClr val="224099"/>
              </a:solidFill>
              <a:cs typeface="Arial" pitchFamily="34" charset="0"/>
            </a:endParaRPr>
          </a:p>
          <a:p>
            <a:pPr algn="l"/>
            <a:endParaRPr lang="fr-FR" sz="18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Idéalement, </a:t>
            </a:r>
            <a:r>
              <a:rPr lang="fr-FR" sz="1800" b="1" dirty="0">
                <a:solidFill>
                  <a:srgbClr val="224099"/>
                </a:solidFill>
                <a:cs typeface="Arial" pitchFamily="34" charset="0"/>
              </a:rPr>
              <a:t>si je changeais ma réponse </a:t>
            </a:r>
            <a:r>
              <a:rPr lang="fr-FR" sz="1800" dirty="0">
                <a:solidFill>
                  <a:srgbClr val="224099"/>
                </a:solidFill>
                <a:cs typeface="Arial" pitchFamily="34" charset="0"/>
              </a:rPr>
              <a:t>/ mon argumentaire pour m’adapter au maximum à mon public, qu’est-ce que je dirais alors ?</a:t>
            </a: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800" noProof="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endParaRPr lang="fr-FR" sz="1800" dirty="0">
              <a:solidFill>
                <a:srgbClr val="224099"/>
              </a:solidFill>
              <a:cs typeface="Arial" pitchFamily="34" charset="0"/>
            </a:endParaRPr>
          </a:p>
          <a:p>
            <a:pPr marL="171450" indent="-171450" algn="l">
              <a:buFont typeface="Arial" panose="020B0604020202020204" pitchFamily="34" charset="0"/>
              <a:buChar char="•"/>
            </a:pPr>
            <a:r>
              <a:rPr lang="fr-FR" sz="1800" noProof="0" dirty="0">
                <a:solidFill>
                  <a:srgbClr val="224099"/>
                </a:solidFill>
                <a:cs typeface="Arial" pitchFamily="34" charset="0"/>
              </a:rPr>
              <a:t>Est-ce que certains éléments </a:t>
            </a:r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me posent problème </a:t>
            </a:r>
            <a:r>
              <a:rPr lang="fr-FR" sz="1800" noProof="0" dirty="0">
                <a:solidFill>
                  <a:srgbClr val="224099"/>
                </a:solidFill>
                <a:cs typeface="Arial" pitchFamily="34" charset="0"/>
              </a:rPr>
              <a:t>dans ces changements ? Est-ce qu’il y a certains éléments qui constituent pour vous des </a:t>
            </a:r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</a:rPr>
              <a:t>lignes rouges </a:t>
            </a:r>
            <a:r>
              <a:rPr lang="fr-FR" sz="1800" noProof="0" dirty="0">
                <a:solidFill>
                  <a:srgbClr val="224099"/>
                </a:solidFill>
                <a:cs typeface="Arial" pitchFamily="34" charset="0"/>
              </a:rPr>
              <a:t>? </a:t>
            </a:r>
          </a:p>
        </p:txBody>
      </p:sp>
    </p:spTree>
    <p:extLst>
      <p:ext uri="{BB962C8B-B14F-4D97-AF65-F5344CB8AC3E}">
        <p14:creationId xmlns:p14="http://schemas.microsoft.com/office/powerpoint/2010/main" val="3166672918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Merci ! 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39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6"/>
            <a:ext cx="11064459" cy="3180395"/>
          </a:xfrm>
        </p:spPr>
        <p:txBody>
          <a:bodyPr>
            <a:normAutofit/>
          </a:bodyPr>
          <a:lstStyle/>
          <a:p>
            <a:endParaRPr lang="fr-FR" sz="3200" dirty="0"/>
          </a:p>
          <a:p>
            <a:endParaRPr lang="fr-FR" sz="3200" dirty="0"/>
          </a:p>
          <a:p>
            <a:endParaRPr lang="fr-FR" sz="3200" dirty="0"/>
          </a:p>
          <a:p>
            <a:endParaRPr lang="fr-FR" sz="3200" dirty="0"/>
          </a:p>
          <a:p>
            <a:endParaRPr lang="fr-FR" sz="3200" dirty="0"/>
          </a:p>
          <a:p>
            <a:pPr algn="ctr"/>
            <a:r>
              <a:rPr lang="fr-FR" sz="1800" dirty="0" err="1"/>
              <a:t>www.destincommun.fr</a:t>
            </a:r>
            <a:endParaRPr lang="fr-FR" sz="1800" dirty="0"/>
          </a:p>
        </p:txBody>
      </p:sp>
    </p:spTree>
    <p:extLst>
      <p:ext uri="{BB962C8B-B14F-4D97-AF65-F5344CB8AC3E}">
        <p14:creationId xmlns:p14="http://schemas.microsoft.com/office/powerpoint/2010/main" val="19514932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Un travail étroit avec de nombreux partenaires, </a:t>
            </a:r>
          </a:p>
          <a:p>
            <a:pPr lvl="1"/>
            <a:r>
              <a:rPr lang="fr-FR" sz="3200" b="1" dirty="0">
                <a:solidFill>
                  <a:schemeClr val="bg1"/>
                </a:solidFill>
              </a:rPr>
              <a:t>notamment de la société civile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pic>
        <p:nvPicPr>
          <p:cNvPr id="1026" name="Picture 2" descr="Partners">
            <a:extLst>
              <a:ext uri="{FF2B5EF4-FFF2-40B4-BE49-F238E27FC236}">
                <a16:creationId xmlns:a16="http://schemas.microsoft.com/office/drawing/2014/main" id="{AE61CD86-3473-4F2D-A0EF-BB92AD1B94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46413" y="1677471"/>
            <a:ext cx="6449279" cy="51805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2722296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Et vous ?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57CB489-AD78-15C2-5D61-A0383FE9EDF6}"/>
              </a:ext>
            </a:extLst>
          </p:cNvPr>
          <p:cNvSpPr txBox="1"/>
          <p:nvPr/>
        </p:nvSpPr>
        <p:spPr>
          <a:xfrm>
            <a:off x="690001" y="2266112"/>
            <a:ext cx="10302500" cy="369332"/>
          </a:xfrm>
          <a:prstGeom prst="rect">
            <a:avLst/>
          </a:prstGeom>
          <a:noFill/>
          <a:ln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algn="l"/>
            <a:r>
              <a:rPr lang="fr-FR" sz="2400" b="1" noProof="0" dirty="0">
                <a:solidFill>
                  <a:srgbClr val="224099"/>
                </a:solidFill>
                <a:cs typeface="Arial" pitchFamily="34" charset="0"/>
              </a:rPr>
              <a:t>Qui est un militant ou une militante d’Amnesty International France ?</a:t>
            </a:r>
          </a:p>
        </p:txBody>
      </p:sp>
      <p:sp>
        <p:nvSpPr>
          <p:cNvPr id="4" name="ZoneTexte 3">
            <a:extLst>
              <a:ext uri="{FF2B5EF4-FFF2-40B4-BE49-F238E27FC236}">
                <a16:creationId xmlns:a16="http://schemas.microsoft.com/office/drawing/2014/main" id="{8ED923A4-6CF8-A6B6-CBB1-4D32CA6FEA0C}"/>
              </a:ext>
            </a:extLst>
          </p:cNvPr>
          <p:cNvSpPr txBox="1"/>
          <p:nvPr/>
        </p:nvSpPr>
        <p:spPr>
          <a:xfrm>
            <a:off x="690001" y="3005894"/>
            <a:ext cx="4032738" cy="1692771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Depuis moins d’un an ?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Entre </a:t>
            </a:r>
            <a:r>
              <a:rPr lang="fr-FR" sz="2000" dirty="0">
                <a:solidFill>
                  <a:srgbClr val="224099"/>
                </a:solidFill>
                <a:cs typeface="Arial" pitchFamily="34" charset="0"/>
              </a:rPr>
              <a:t>1 an et 5 ans ?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Depuis plus de 5 ans ?</a:t>
            </a:r>
          </a:p>
          <a:p>
            <a:pPr marL="285750" indent="-285750" algn="l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Depuis plus de 10 ans ?</a:t>
            </a:r>
          </a:p>
        </p:txBody>
      </p:sp>
      <p:sp>
        <p:nvSpPr>
          <p:cNvPr id="5" name="ZoneTexte 4">
            <a:extLst>
              <a:ext uri="{FF2B5EF4-FFF2-40B4-BE49-F238E27FC236}">
                <a16:creationId xmlns:a16="http://schemas.microsoft.com/office/drawing/2014/main" id="{5BA39222-FBC5-CE21-1F7E-43502FEDE45E}"/>
              </a:ext>
            </a:extLst>
          </p:cNvPr>
          <p:cNvSpPr txBox="1"/>
          <p:nvPr/>
        </p:nvSpPr>
        <p:spPr>
          <a:xfrm>
            <a:off x="690001" y="5547919"/>
            <a:ext cx="11107159" cy="553998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l"/>
            <a:r>
              <a:rPr lang="fr-FR" sz="1800" b="1" noProof="0" dirty="0">
                <a:solidFill>
                  <a:srgbClr val="224099"/>
                </a:solidFill>
                <a:cs typeface="Arial" pitchFamily="34" charset="0"/>
                <a:sym typeface="Wingdings" pitchFamily="2" charset="2"/>
              </a:rPr>
              <a:t> Une diversité de profils dans la salle, mais une présentation plus importante de militants et militantes engagés depuis de nombreuses années.</a:t>
            </a:r>
            <a:endParaRPr lang="fr-FR" sz="1800" b="1" noProof="0" dirty="0">
              <a:solidFill>
                <a:srgbClr val="2240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75862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4" grpId="0" build="p"/>
      <p:bldP spid="5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2409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exte 1">
            <a:extLst>
              <a:ext uri="{FF2B5EF4-FFF2-40B4-BE49-F238E27FC236}">
                <a16:creationId xmlns:a16="http://schemas.microsoft.com/office/drawing/2014/main" id="{92813EC3-8221-2647-A0D8-B58E9B5417D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solidFill>
            <a:srgbClr val="224099">
              <a:alpha val="29804"/>
            </a:srgbClr>
          </a:solidFill>
        </p:spPr>
        <p:txBody>
          <a:bodyPr/>
          <a:lstStyle/>
          <a:p>
            <a:endParaRPr lang="fr-FR" dirty="0"/>
          </a:p>
        </p:txBody>
      </p:sp>
      <p:sp>
        <p:nvSpPr>
          <p:cNvPr id="5" name="Titre 4">
            <a:extLst>
              <a:ext uri="{FF2B5EF4-FFF2-40B4-BE49-F238E27FC236}">
                <a16:creationId xmlns:a16="http://schemas.microsoft.com/office/drawing/2014/main" id="{932543D3-B25C-5454-AC99-63318C4346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2912" y="1049017"/>
            <a:ext cx="11306175" cy="1051560"/>
          </a:xfrm>
        </p:spPr>
        <p:txBody>
          <a:bodyPr/>
          <a:lstStyle/>
          <a:p>
            <a:r>
              <a:rPr lang="fr-FR" dirty="0"/>
              <a:t>Pourquoi ?</a:t>
            </a:r>
          </a:p>
        </p:txBody>
      </p:sp>
      <p:sp>
        <p:nvSpPr>
          <p:cNvPr id="6" name="Espace réservé du texte 5">
            <a:extLst>
              <a:ext uri="{FF2B5EF4-FFF2-40B4-BE49-F238E27FC236}">
                <a16:creationId xmlns:a16="http://schemas.microsoft.com/office/drawing/2014/main" id="{4C29A663-6C45-1ED7-7324-4981AA2D0C36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42913" y="2283457"/>
            <a:ext cx="5586984" cy="91440"/>
          </a:xfr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076F7DBE-DD89-7C0A-2300-CB0C2FB5710B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fr-FR" smtClean="0"/>
              <a:pPr/>
              <a:t>6</a:t>
            </a:fld>
            <a:endParaRPr lang="fr-FR"/>
          </a:p>
        </p:txBody>
      </p:sp>
      <p:sp>
        <p:nvSpPr>
          <p:cNvPr id="13" name="Espace réservé du texte 12">
            <a:extLst>
              <a:ext uri="{FF2B5EF4-FFF2-40B4-BE49-F238E27FC236}">
                <a16:creationId xmlns:a16="http://schemas.microsoft.com/office/drawing/2014/main" id="{D3B220B8-48A0-64C6-D144-A79F6B121DE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42912" y="2757267"/>
            <a:ext cx="11064459" cy="2193290"/>
          </a:xfrm>
        </p:spPr>
        <p:txBody>
          <a:bodyPr>
            <a:normAutofit/>
          </a:bodyPr>
          <a:lstStyle/>
          <a:p>
            <a:r>
              <a:rPr lang="fr-FR" sz="3200" dirty="0"/>
              <a:t>Pourquoi cette question </a:t>
            </a:r>
          </a:p>
          <a:p>
            <a:r>
              <a:rPr lang="fr-FR" sz="3200" dirty="0"/>
              <a:t>« comment parler des migrations ? »</a:t>
            </a:r>
          </a:p>
        </p:txBody>
      </p:sp>
    </p:spTree>
    <p:extLst>
      <p:ext uri="{BB962C8B-B14F-4D97-AF65-F5344CB8AC3E}">
        <p14:creationId xmlns:p14="http://schemas.microsoft.com/office/powerpoint/2010/main" val="24742774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Les ressources que nous mobilisons </a:t>
            </a:r>
          </a:p>
          <a:p>
            <a:pPr lvl="1"/>
            <a:r>
              <a:rPr lang="fr-FR" sz="3200" b="1" dirty="0">
                <a:solidFill>
                  <a:schemeClr val="bg1"/>
                </a:solidFill>
              </a:rPr>
              <a:t>pour cet atelier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57CB489-AD78-15C2-5D61-A0383FE9EDF6}"/>
              </a:ext>
            </a:extLst>
          </p:cNvPr>
          <p:cNvSpPr txBox="1"/>
          <p:nvPr/>
        </p:nvSpPr>
        <p:spPr>
          <a:xfrm>
            <a:off x="690359" y="2197893"/>
            <a:ext cx="10704471" cy="3231654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marL="342900" indent="-342900" algn="l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b="1" dirty="0">
                <a:solidFill>
                  <a:srgbClr val="224099"/>
                </a:solidFill>
                <a:cs typeface="Arial" pitchFamily="34" charset="0"/>
              </a:rPr>
              <a:t>Une enquête quantitative </a:t>
            </a:r>
            <a:r>
              <a:rPr lang="fr-FR" sz="2000" dirty="0">
                <a:solidFill>
                  <a:srgbClr val="224099"/>
                </a:solidFill>
                <a:cs typeface="Arial" pitchFamily="34" charset="0"/>
              </a:rPr>
              <a:t>réalisée avec Harris Interactive et Amnesty International France. </a:t>
            </a:r>
          </a:p>
          <a:p>
            <a:pPr marL="792295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i="1" noProof="0" dirty="0">
                <a:solidFill>
                  <a:srgbClr val="224099"/>
                </a:solidFill>
                <a:cs typeface="Arial" pitchFamily="34" charset="0"/>
              </a:rPr>
              <a:t>Février 2023, 2000 personnes, enquête en ligne.</a:t>
            </a:r>
          </a:p>
          <a:p>
            <a:pPr marL="792295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i="1" dirty="0">
              <a:solidFill>
                <a:srgbClr val="224099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b="1" noProof="0" dirty="0">
                <a:solidFill>
                  <a:srgbClr val="224099"/>
                </a:solidFill>
                <a:cs typeface="Arial" pitchFamily="34" charset="0"/>
              </a:rPr>
              <a:t>Des groupes de discussions </a:t>
            </a: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organisés par Destin Commun.</a:t>
            </a:r>
          </a:p>
          <a:p>
            <a:pPr marL="792295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i="1" noProof="0" dirty="0">
                <a:solidFill>
                  <a:srgbClr val="224099"/>
                </a:solidFill>
                <a:cs typeface="Arial" pitchFamily="34" charset="0"/>
              </a:rPr>
              <a:t>Novembre 2022, mars 2022</a:t>
            </a:r>
          </a:p>
          <a:p>
            <a:pPr marL="792295" lvl="1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fr-FR" sz="2000" i="1" dirty="0">
              <a:solidFill>
                <a:srgbClr val="224099"/>
              </a:solidFill>
              <a:cs typeface="Arial" pitchFamily="34" charset="0"/>
            </a:endParaRPr>
          </a:p>
          <a:p>
            <a:pPr marL="342900" indent="-34290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fr-FR" sz="2000" b="1" noProof="0" dirty="0">
                <a:solidFill>
                  <a:srgbClr val="224099"/>
                </a:solidFill>
                <a:cs typeface="Arial" pitchFamily="34" charset="0"/>
              </a:rPr>
              <a:t>La segmentation </a:t>
            </a: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développée par Destin Commun et notre connaissance approfondies dans le temps de chaque famille de valeurs.</a:t>
            </a:r>
          </a:p>
        </p:txBody>
      </p:sp>
    </p:spTree>
    <p:extLst>
      <p:ext uri="{BB962C8B-B14F-4D97-AF65-F5344CB8AC3E}">
        <p14:creationId xmlns:p14="http://schemas.microsoft.com/office/powerpoint/2010/main" val="67111489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L’opinion plus ambivalente que fermée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D57CB489-AD78-15C2-5D61-A0383FE9EDF6}"/>
              </a:ext>
            </a:extLst>
          </p:cNvPr>
          <p:cNvSpPr txBox="1"/>
          <p:nvPr/>
        </p:nvSpPr>
        <p:spPr>
          <a:xfrm>
            <a:off x="596574" y="1910696"/>
            <a:ext cx="10704471" cy="4370427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>
              <a:spcAft>
                <a:spcPts val="600"/>
              </a:spcAft>
            </a:pPr>
            <a:r>
              <a:rPr lang="fr-FR" sz="2400" b="1" dirty="0">
                <a:solidFill>
                  <a:srgbClr val="224099"/>
                </a:solidFill>
                <a:cs typeface="Arial" pitchFamily="34" charset="0"/>
              </a:rPr>
              <a:t>L’analyse de l’opinion française montre que la perception des personnes migrantes et de l’immigration est bien plus ambivalente que binaire. </a:t>
            </a:r>
          </a:p>
          <a:p>
            <a:pPr>
              <a:spcAft>
                <a:spcPts val="600"/>
              </a:spcAft>
            </a:pPr>
            <a:endParaRPr lang="fr-FR" sz="2400" b="1" noProof="0" dirty="0">
              <a:solidFill>
                <a:srgbClr val="224099"/>
              </a:solidFill>
              <a:highlight>
                <a:srgbClr val="FFFF00"/>
              </a:highlight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fr-FR" sz="2400" b="1" dirty="0">
                <a:solidFill>
                  <a:srgbClr val="224099"/>
                </a:solidFill>
                <a:cs typeface="Arial" pitchFamily="34" charset="0"/>
              </a:rPr>
              <a:t>L’opinion est marquée à la fois par la perception d’une menace multiple, mais aussi par une ouverture, une empathie et une volonté d’accueillir dans de bonnes conditions.</a:t>
            </a:r>
          </a:p>
          <a:p>
            <a:pPr>
              <a:spcAft>
                <a:spcPts val="600"/>
              </a:spcAft>
            </a:pPr>
            <a:endParaRPr lang="fr-FR" sz="2400" b="1" noProof="0" dirty="0">
              <a:solidFill>
                <a:srgbClr val="224099"/>
              </a:solidFill>
              <a:cs typeface="Arial" pitchFamily="34" charset="0"/>
            </a:endParaRPr>
          </a:p>
          <a:p>
            <a:pPr>
              <a:spcAft>
                <a:spcPts val="600"/>
              </a:spcAft>
            </a:pPr>
            <a:r>
              <a:rPr lang="fr-FR" sz="2400" b="1" dirty="0">
                <a:solidFill>
                  <a:srgbClr val="224099"/>
                </a:solidFill>
                <a:cs typeface="Arial" pitchFamily="34" charset="0"/>
              </a:rPr>
              <a:t>C’est cette ambivalence qu’il faut comprendre, et à laquelle il faut répondre. L’analyse de Destin Commun apporte des clés de compréhension et des leviers d’actions.</a:t>
            </a:r>
            <a:endParaRPr lang="fr-FR" sz="2400" noProof="0" dirty="0">
              <a:solidFill>
                <a:srgbClr val="2240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614171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5F29F40F-40DF-3ADB-9775-3B42E149A6CC}"/>
              </a:ext>
            </a:extLst>
          </p:cNvPr>
          <p:cNvSpPr/>
          <p:nvPr/>
        </p:nvSpPr>
        <p:spPr>
          <a:xfrm>
            <a:off x="0" y="0"/>
            <a:ext cx="12192000" cy="1448972"/>
          </a:xfrm>
          <a:prstGeom prst="rect">
            <a:avLst/>
          </a:prstGeom>
          <a:solidFill>
            <a:srgbClr val="224099"/>
          </a:solidFill>
          <a:ln w="6350">
            <a:noFill/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1"/>
            <a:r>
              <a:rPr lang="fr-FR" sz="3200" b="1" dirty="0">
                <a:solidFill>
                  <a:schemeClr val="bg1"/>
                </a:solidFill>
              </a:rPr>
              <a:t>Au-delà des chiffres, </a:t>
            </a:r>
          </a:p>
          <a:p>
            <a:pPr lvl="1"/>
            <a:r>
              <a:rPr lang="fr-FR" sz="3200" b="1" dirty="0">
                <a:solidFill>
                  <a:schemeClr val="bg1"/>
                </a:solidFill>
              </a:rPr>
              <a:t>partons aussi de votre expérience</a:t>
            </a:r>
          </a:p>
        </p:txBody>
      </p:sp>
      <p:pic>
        <p:nvPicPr>
          <p:cNvPr id="11" name="Image 10" descr="Une image contenant Graphique, Police, texte, graphisme&#10;&#10;Description générée automatiquement">
            <a:extLst>
              <a:ext uri="{FF2B5EF4-FFF2-40B4-BE49-F238E27FC236}">
                <a16:creationId xmlns:a16="http://schemas.microsoft.com/office/drawing/2014/main" id="{A649148A-C1EC-731F-7FCE-1B3C8848E127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233" t="19795" r="64348" b="28204"/>
          <a:stretch/>
        </p:blipFill>
        <p:spPr>
          <a:xfrm>
            <a:off x="10992501" y="357010"/>
            <a:ext cx="804659" cy="721512"/>
          </a:xfrm>
          <a:prstGeom prst="rect">
            <a:avLst/>
          </a:prstGeom>
        </p:spPr>
      </p:pic>
      <p:sp>
        <p:nvSpPr>
          <p:cNvPr id="2" name="ZoneTexte 1">
            <a:extLst>
              <a:ext uri="{FF2B5EF4-FFF2-40B4-BE49-F238E27FC236}">
                <a16:creationId xmlns:a16="http://schemas.microsoft.com/office/drawing/2014/main" id="{3C935D06-2A1C-201E-54CF-6599B3019527}"/>
              </a:ext>
            </a:extLst>
          </p:cNvPr>
          <p:cNvSpPr txBox="1"/>
          <p:nvPr/>
        </p:nvSpPr>
        <p:spPr>
          <a:xfrm>
            <a:off x="685800" y="2593501"/>
            <a:ext cx="10820400" cy="2769989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>
            <a:spAutoFit/>
          </a:bodyPr>
          <a:lstStyle/>
          <a:p>
            <a:pPr algn="ctr"/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Pensez à </a:t>
            </a:r>
            <a:r>
              <a:rPr lang="fr-FR" sz="2000" b="1" noProof="0" dirty="0">
                <a:solidFill>
                  <a:srgbClr val="224099"/>
                </a:solidFill>
                <a:cs typeface="Arial" pitchFamily="34" charset="0"/>
              </a:rPr>
              <a:t>votre expérience </a:t>
            </a: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en tant que militant </a:t>
            </a:r>
            <a:r>
              <a:rPr lang="fr-FR" sz="2000">
                <a:solidFill>
                  <a:srgbClr val="224099"/>
                </a:solidFill>
                <a:cs typeface="Arial" pitchFamily="34" charset="0"/>
              </a:rPr>
              <a:t>ou</a:t>
            </a:r>
            <a:r>
              <a:rPr lang="fr-FR" sz="2000" noProof="0">
                <a:solidFill>
                  <a:srgbClr val="224099"/>
                </a:solidFill>
                <a:cs typeface="Arial" pitchFamily="34" charset="0"/>
              </a:rPr>
              <a:t> militante</a:t>
            </a:r>
            <a:r>
              <a:rPr lang="fr-FR" sz="2000" noProof="0" dirty="0">
                <a:solidFill>
                  <a:srgbClr val="224099"/>
                </a:solidFill>
                <a:cs typeface="Arial" pitchFamily="34" charset="0"/>
              </a:rPr>
              <a:t> d’Amnesty International France. </a:t>
            </a:r>
          </a:p>
          <a:p>
            <a:pPr algn="ctr"/>
            <a:endParaRPr lang="fr-FR" sz="2000" noProof="0" dirty="0">
              <a:solidFill>
                <a:srgbClr val="224099"/>
              </a:solidFill>
              <a:cs typeface="Arial" pitchFamily="34" charset="0"/>
            </a:endParaRPr>
          </a:p>
          <a:p>
            <a:pPr algn="ctr"/>
            <a:r>
              <a:rPr lang="fr-FR" sz="2000" i="1" dirty="0">
                <a:solidFill>
                  <a:srgbClr val="224099"/>
                </a:solidFill>
                <a:cs typeface="Arial" pitchFamily="34" charset="0"/>
              </a:rPr>
              <a:t>Lorsque vous organisez des projections-débats, des actions de signature de pétition dans les lieux publics,  lorsque vous tenez un stand…</a:t>
            </a:r>
          </a:p>
          <a:p>
            <a:pPr algn="ctr"/>
            <a:endParaRPr lang="fr-FR" sz="2000" noProof="0" dirty="0">
              <a:solidFill>
                <a:srgbClr val="224099"/>
              </a:solidFill>
              <a:cs typeface="Arial" pitchFamily="34" charset="0"/>
            </a:endParaRPr>
          </a:p>
          <a:p>
            <a:pPr algn="ctr"/>
            <a:r>
              <a:rPr lang="fr-FR" sz="2000" b="1" dirty="0">
                <a:solidFill>
                  <a:srgbClr val="224099"/>
                </a:solidFill>
                <a:cs typeface="Arial" pitchFamily="34" charset="0"/>
              </a:rPr>
              <a:t>Si vous deviez résumer en quelques mots, en une phrase ou deux, les discours que vous entendez le plus au sujet des personnes migrantes et de l’immigration, </a:t>
            </a:r>
          </a:p>
          <a:p>
            <a:pPr algn="ctr"/>
            <a:r>
              <a:rPr lang="fr-FR" sz="2000" b="1">
                <a:solidFill>
                  <a:srgbClr val="224099"/>
                </a:solidFill>
                <a:cs typeface="Arial" pitchFamily="34" charset="0"/>
              </a:rPr>
              <a:t>que diriez-vous</a:t>
            </a:r>
            <a:r>
              <a:rPr lang="fr-FR" sz="2000" b="1" dirty="0">
                <a:solidFill>
                  <a:srgbClr val="224099"/>
                </a:solidFill>
                <a:cs typeface="Arial" pitchFamily="34" charset="0"/>
              </a:rPr>
              <a:t> ?</a:t>
            </a:r>
            <a:endParaRPr lang="fr-FR" sz="2000" b="1" noProof="0" dirty="0">
              <a:solidFill>
                <a:srgbClr val="224099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53719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ISABLE EXECUTIVE SUMMARY" val="Yes"/>
  <p:tag name="FOOTERHEIGHT" val="550"/>
  <p:tag name="FORECASTBOXCOLOR" val="252,212,182"/>
  <p:tag name="FORECASTBOXTRANSPARENCY" val="0"/>
  <p:tag name="HIGHLIGHTBOXCOLOR" val="232,230,223"/>
  <p:tag name="HIGHLIGHTBOXTRANSPARENCY" val="0"/>
  <p:tag name="HORIZONTALTOCTYPE" val="Header TOC"/>
  <p:tag name="INCLUDEINHORIZONTALTOC" val="Yes"/>
  <p:tag name="PAGINATIONSTART" val="Slide 1"/>
  <p:tag name="SHOWDISCLAIMERCLIENTNAME" val="No"/>
  <p:tag name="SHOWPRESENTATIONDISCLAIMER" val="Yes"/>
  <p:tag name="SMARTISVISIBLE" val="{@PresentationDisclaimer}!=No Disclaimer"/>
  <p:tag name="SMARTSHAPETYPE" val="PresentationDisclaimer"/>
  <p:tag name="SMRTDOCUMENTTYPE" val="2"/>
  <p:tag name="TABLEDEFAULTFONTSIZE" val="10"/>
  <p:tag name="TABLEHEADERFONTSIZE" val="12"/>
  <p:tag name="TABLESTYLEID" val="{74ED0A72-4B8E-423B-AE2F-120ADE3C16FB}"/>
  <p:tag name="TOCAPPENDIXTEXT" val="Appendices"/>
  <p:tag name="TOCOVERVIEWTEXT" val="Overview"/>
  <p:tag name="TOCPAGETEXT" val="Page"/>
  <p:tag name="TOCSECTIONHEADERTEXT" val="Section"/>
  <p:tag name="TOCSECTIONTEXT" val=" "/>
  <p:tag name="PICTURE" val="Occupied office space"/>
  <p:tag name="BUSINESSUNITCOVERTEXT" val="Transaction Services"/>
  <p:tag name="ISBRANDREFRESH" val="Yes"/>
  <p:tag name="CONFIDENTIALITY STAMP" val="Strictly private and confidential"/>
  <p:tag name="TOCAGENDATEXT" val="Agenda"/>
  <p:tag name="SMARTTOCSLIDENUMBER" val="3"/>
  <p:tag name="HASFRONTIMAGE" val="NO"/>
  <p:tag name="GRIDON" val="No"/>
  <p:tag name="HASNAVIGATIONBUTTON" val="No"/>
  <p:tag name="TITLE" val="Strategy&amp; template"/>
  <p:tag name="REPORT DATE" val="30 May 2019"/>
  <p:tag name="SMARTTOCHYPERLINK" val="YES"/>
  <p:tag name="DRAFT STAMP" val="Draft"/>
  <p:tag name="SHOW DRAFT STAMP" val="YES"/>
  <p:tag name="SHOW DATE FILEPATH" val="NO"/>
  <p:tag name="PRESENTATION THEME COLOR" val="PwC Strategy&amp;"/>
  <p:tag name="PRESENTATIONDISCLAIMER" val="Standard Disclaimer"/>
  <p:tag name="PRESENTATIONDISCLAIMERTEXT" val="Strictly private and confidential"/>
  <p:tag name="NEWSTRATEGYTEMPLATE" val="Yes"/>
  <p:tag name="TOCTEXT" val="Agenda"/>
  <p:tag name="DIVIDERTOCSTYLE" val="Nonbulleted"/>
  <p:tag name="LANGUAGE" val="French"/>
  <p:tag name="SUBTITLE" val="Market Dynamics"/>
  <p:tag name="THINKCELLPRESENTATIONDONOTDELETE" val="&lt;?xml version=&quot;1.0&quot; encoding=&quot;UTF-16&quot; standalone=&quot;yes&quot;?&gt;&lt;root reqver=&quot;27037&quot;&gt;&lt;version val=&quot;3295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.%#m&lt;/m_strFormatTime&gt;&lt;m_yearfmt&gt;&lt;begin val=&quot;4&quot;/&gt;&lt;end val=&quot;4&quot;/&gt;&lt;/m_yearfmt&gt;&lt;/m_precDefaultDate&gt;&lt;m_precDefaultDay&gt;&lt;m_bNumberIsYear val=&quot;0&quot;/&gt;&lt;m_strFormatTime&gt;%#d&lt;/m_strFormatTime&gt;&lt;m_yearfmt&gt;&lt;begin val=&quot;0&quot;/&gt;&lt;end val=&quot;4&quot;/&gt;&lt;/m_yearfmt&gt;&lt;/m_precDefaultDay&gt;&lt;m_precDefaultWeek&gt;&lt;m_bNumberIsYear val=&quot;0&quot;/&gt;&lt;m_strFormatTime&gt;%d&lt;/m_strFormatTime&gt;&lt;m_yearfmt&gt;&lt;begin val=&quot;0&quot;/&gt;&lt;end val=&quot;4&quot;/&gt;&lt;/m_yearfmt&gt;&lt;/m_precDefaultWeek&gt;&lt;m_precDefaultMonth&gt;&lt;m_bNumberIsYear val=&quot;0&quot;/&gt;&lt;m_strFormatTime&gt;%1&lt;/m_strFormatTime&gt;&lt;m_yearfmt&gt;&lt;begin val=&quot;0&quot;/&gt;&lt;end val=&quot;4&quot;/&gt;&lt;/m_yearfmt&gt;&lt;/m_precDefaultMonth&gt;&lt;m_precDefaultQuarter&gt;&lt;m_bNumberIsYear val=&quot;0&quot;/&gt;&lt;m_strFormatTime&gt;Q%5&lt;/m_strFormatTime&gt;&lt;m_yearfmt&gt;&lt;begin val=&quot;0&quot;/&gt;&lt;end val=&quot;4&quot;/&gt;&lt;/m_yearfmt&gt;&lt;/m_precDefaultQuarter&gt;&lt;m_precDefaultYear&gt;&lt;m_bNumberIsYear val=&quot;0&quot;/&gt;&lt;m_strFormatTime&gt;%Y&lt;/m_strFormatTime&gt;&lt;m_yearfmt&gt;&lt;begin val=&quot;0&quot;/&gt;&lt;end val=&quot;0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  <p:tag name="LASTSLIDEVIEWED" val="2146847304,1,XXX"/>
  <p:tag name="POWER_USER_PPT_AGENDA_PRESENTATION_COLOR_TAG" val="#E32D91"/>
  <p:tag name="POWER_USER_PPT_AGENDA_PRESENTATION_DIVIDERS_CHECKED_TAG" val="0"/>
  <p:tag name="POWER_USER_PPT_AGENDA_PRESENTATION_TABLE_OF_CONTENT_CHECKED_TAG" val="1"/>
  <p:tag name="POWER_USER_PPT_AGENDA_PRESENTATION_TITLE_TEXT_TAG" val="Sommaire"/>
  <p:tag name="POWER_USER_PPT_AGENDA_PRESENTATION_SHOULD_CREATE_TABLE_OF_CONTENT_TAG" val="0"/>
  <p:tag name="POWER_USER_PPT_AGENDA_PRESENTATION_SHOW_SLIDE_NUMBERS_CHECKED_TAG" val="1"/>
  <p:tag name="POWER_USER_PPT_AGENDA_PRESENTATION_SHOW_SECTION_NUMBERS_CHECKED_TAG" val="1"/>
  <p:tag name="POWER_USER_PPT_AGENDA_PRESENTATION_SHOW_BREADSCRUMBS_CHECKED_TAG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x9_VzGNTL2r0zS2GmTDA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0dAAscQpC_Ylhq43j15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8x5KEvQSpuwPq_PcPFeO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Tz5sbTUG81FVlUzQzt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x_gg7jMOGCXTSUL3Og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qvwq5ITJOU78LvEW_vi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hYeqhRq6RkMK19n9SV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ax7z9TRCexCZcOJP9E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Zax7z9TRCexCZcOJP9E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WRITE" val="{@Subtitle}"/>
  <p:tag name="SMARTREAD" val="{@Subtitle}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RATEGYDIVIDERTITLE" val="Yes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BTz5sbTUG81FVlUzQzt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TEXT" val="Section"/>
  <p:tag name="SMARTDIVIDERTOCSTYLE" val="Section TOC"/>
  <p:tag name="SMARTDIVIDERLEVEL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Ux_gg7jMOGCXTSUL3Og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qvwq5ITJOU78LvEW_vi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KhYeqhRq6RkMK19n9SV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Tz0qd6RkiaZ4q84XENo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ISVISIBLE" val="{@Show Date FilePath} = Yes"/>
  <p:tag name="SMARTWRITE" val="{!Today} {!FilePath}"/>
  <p:tag name="SMARTLOCKSHAPE" val="Yes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DIVIDERTYPE" val="Section"/>
  <p:tag name="SMARTDIVIDERLEVEL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SHAPETYPE" val="HORIZONTALTOCPLACEHOLDER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LOCKSHAPE" val="Yes"/>
  <p:tag name="SMARTOBJECT" val="Section Header v.2"/>
  <p:tag name="SMARTISVISIBLE" val="{$SmartDividernumber}!=-1"/>
  <p:tag name="SMARTWRITE" val="{$SmartDividernumber} {$Smart Divider title}"/>
</p:tagLst>
</file>

<file path=ppt/theme/theme1.xml><?xml version="1.0" encoding="utf-8"?>
<a:theme xmlns:a="http://schemas.openxmlformats.org/drawingml/2006/main" name="Widescreen 16x9 Template">
  <a:themeElements>
    <a:clrScheme name="Rouge viole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Personnalisé 1">
      <a:majorFont>
        <a:latin typeface="Sailec-Bold"/>
        <a:ea typeface=""/>
        <a:cs typeface=""/>
      </a:majorFont>
      <a:minorFont>
        <a:latin typeface="Saile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0" tIns="0" rIns="0" bIns="0" rtlCol="0">
        <a:spAutoFit/>
      </a:bodyPr>
      <a:lstStyle>
        <a:defPPr algn="l">
          <a:defRPr sz="1200" noProof="0" dirty="0" smtClean="0">
            <a:solidFill>
              <a:schemeClr val="tx1"/>
            </a:solidFill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ull 16x9 Template.potx" id="{F8BAB6B1-B9FD-4514-A354-8C9F74FCB018}" vid="{4E8732D2-1DA3-4C6A-A653-762E5646EAEB}"/>
    </a:ext>
  </a:extLst>
</a:theme>
</file>

<file path=ppt/theme/theme2.xml><?xml version="1.0" encoding="utf-8"?>
<a:theme xmlns:a="http://schemas.openxmlformats.org/drawingml/2006/main" name="1_Widescreen 16x9 Template">
  <a:themeElements>
    <a:clrScheme name="Rouge violet">
      <a:dk1>
        <a:sysClr val="windowText" lastClr="000000"/>
      </a:dk1>
      <a:lt1>
        <a:sysClr val="window" lastClr="FFFFFF"/>
      </a:lt1>
      <a:dk2>
        <a:srgbClr val="454551"/>
      </a:dk2>
      <a:lt2>
        <a:srgbClr val="D8D9DC"/>
      </a:lt2>
      <a:accent1>
        <a:srgbClr val="E32D91"/>
      </a:accent1>
      <a:accent2>
        <a:srgbClr val="C830CC"/>
      </a:accent2>
      <a:accent3>
        <a:srgbClr val="4EA6DC"/>
      </a:accent3>
      <a:accent4>
        <a:srgbClr val="4775E7"/>
      </a:accent4>
      <a:accent5>
        <a:srgbClr val="8971E1"/>
      </a:accent5>
      <a:accent6>
        <a:srgbClr val="D54773"/>
      </a:accent6>
      <a:hlink>
        <a:srgbClr val="6B9F25"/>
      </a:hlink>
      <a:folHlink>
        <a:srgbClr val="8C8C8C"/>
      </a:folHlink>
    </a:clrScheme>
    <a:fontScheme name="Personnalisé 1">
      <a:majorFont>
        <a:latin typeface="Sailec-Bold"/>
        <a:ea typeface=""/>
        <a:cs typeface=""/>
      </a:majorFont>
      <a:minorFont>
        <a:latin typeface="Saile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635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600" dirty="0" smtClean="0"/>
        </a:defPPr>
      </a:lstStyle>
    </a:spDef>
    <a:lnDef>
      <a:spPr>
        <a:ln w="12700">
          <a:solidFill>
            <a:srgbClr val="DC69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vert="horz" wrap="square" lIns="0" tIns="0" rIns="0" bIns="0" rtlCol="0">
        <a:spAutoFit/>
      </a:bodyPr>
      <a:lstStyle>
        <a:defPPr algn="l">
          <a:defRPr sz="1200" noProof="0" dirty="0" smtClean="0">
            <a:solidFill>
              <a:schemeClr val="tx1"/>
            </a:solidFill>
            <a:cs typeface="Arial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Default 16x9 Template.potx" id="{03D65AE1-1B8B-4875-9866-46F15AEA1B3C}" vid="{DE124FA8-A25F-4D75-8D98-A47CECDE330D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3843f5d5-80d7-412f-8b80-385e5e9cac13" xsi:nil="true"/>
    <lcf76f155ced4ddcb4097134ff3c332f xmlns="5542b430-c8f5-44c0-b3ec-49fc8b732b29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E2400B769963B459B481C2CAB0A0721" ma:contentTypeVersion="17" ma:contentTypeDescription="Create a new document." ma:contentTypeScope="" ma:versionID="fa6f5389476e0b73c7b4ff51490a4165">
  <xsd:schema xmlns:xsd="http://www.w3.org/2001/XMLSchema" xmlns:xs="http://www.w3.org/2001/XMLSchema" xmlns:p="http://schemas.microsoft.com/office/2006/metadata/properties" xmlns:ns2="5542b430-c8f5-44c0-b3ec-49fc8b732b29" xmlns:ns3="3843f5d5-80d7-412f-8b80-385e5e9cac13" targetNamespace="http://schemas.microsoft.com/office/2006/metadata/properties" ma:root="true" ma:fieldsID="9bc180c098fd2d1daec3093fa36b5e7b" ns2:_="" ns3:_="">
    <xsd:import namespace="5542b430-c8f5-44c0-b3ec-49fc8b732b29"/>
    <xsd:import namespace="3843f5d5-80d7-412f-8b80-385e5e9cac1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542b430-c8f5-44c0-b3ec-49fc8b732b2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MediaServiceAutoTags" ma:internalName="MediaServiceAutoTags" ma:readOnly="true">
      <xsd:simpleType>
        <xsd:restriction base="dms:Text"/>
      </xsd:simpleType>
    </xsd:element>
    <xsd:element name="MediaServiceOCR" ma:index="11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b07934df-4cff-4b55-b868-b4caa65d9c3c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43f5d5-80d7-412f-8b80-385e5e9cac13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f5a7390-5bcc-4a1d-b254-2368bb19ad75}" ma:internalName="TaxCatchAll" ma:showField="CatchAllData" ma:web="3843f5d5-80d7-412f-8b80-385e5e9cac1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EC63E6-BAD8-44B1-B952-9A0498B7841A}">
  <ds:schemaRefs>
    <ds:schemaRef ds:uri="http://purl.org/dc/terms/"/>
    <ds:schemaRef ds:uri="5542b430-c8f5-44c0-b3ec-49fc8b732b29"/>
    <ds:schemaRef ds:uri="http://schemas.openxmlformats.org/package/2006/metadata/core-properties"/>
    <ds:schemaRef ds:uri="3843f5d5-80d7-412f-8b80-385e5e9cac13"/>
    <ds:schemaRef ds:uri="http://purl.org/dc/elements/1.1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7F4DF88-4126-472A-8E53-918A51FB093E}">
  <ds:schemaRefs>
    <ds:schemaRef ds:uri="3843f5d5-80d7-412f-8b80-385e5e9cac13"/>
    <ds:schemaRef ds:uri="5542b430-c8f5-44c0-b3ec-49fc8b732b29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1C90D9A9-2190-4E6F-85B6-C7F3F6F9568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ull 16x9 Template</Template>
  <TotalTime>15705</TotalTime>
  <Words>2868</Words>
  <Application>Microsoft Macintosh PowerPoint</Application>
  <PresentationFormat>Grand écran</PresentationFormat>
  <Paragraphs>404</Paragraphs>
  <Slides>39</Slides>
  <Notes>26</Notes>
  <HiddenSlides>0</HiddenSlides>
  <MMClips>3</MMClips>
  <ScaleCrop>false</ScaleCrop>
  <HeadingPairs>
    <vt:vector size="8" baseType="variant">
      <vt:variant>
        <vt:lpstr>Polices utilisées</vt:lpstr>
      </vt:variant>
      <vt:variant>
        <vt:i4>7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39</vt:i4>
      </vt:variant>
    </vt:vector>
  </HeadingPairs>
  <TitlesOfParts>
    <vt:vector size="49" baseType="lpstr">
      <vt:lpstr>Arial</vt:lpstr>
      <vt:lpstr>Sailec</vt:lpstr>
      <vt:lpstr>Georgia</vt:lpstr>
      <vt:lpstr>Calibri</vt:lpstr>
      <vt:lpstr>Sailec-Bold</vt:lpstr>
      <vt:lpstr>Sailec Light</vt:lpstr>
      <vt:lpstr>Calibri Light</vt:lpstr>
      <vt:lpstr>Widescreen 16x9 Template</vt:lpstr>
      <vt:lpstr>1_Widescreen 16x9 Template</vt:lpstr>
      <vt:lpstr>think-cell Slide</vt:lpstr>
      <vt:lpstr>Comment parler  des migrations ?</vt:lpstr>
      <vt:lpstr>Destin Commun</vt:lpstr>
      <vt:lpstr>Présentation PowerPoint</vt:lpstr>
      <vt:lpstr>Présentation PowerPoint</vt:lpstr>
      <vt:lpstr>Présentation PowerPoint</vt:lpstr>
      <vt:lpstr>Pourquoi ?</vt:lpstr>
      <vt:lpstr>Présentation PowerPoint</vt:lpstr>
      <vt:lpstr>Présentation PowerPoint</vt:lpstr>
      <vt:lpstr>Présentation PowerPoint</vt:lpstr>
      <vt:lpstr>Présentation PowerPoint</vt:lpstr>
      <vt:lpstr>Destin Commun</vt:lpstr>
      <vt:lpstr>Une image vaut 1000 mots</vt:lpstr>
      <vt:lpstr>Les systèmes de valeurs pour mieux comprendre  les différences d’opinions entre les Français</vt:lpstr>
      <vt:lpstr>Six familles de valeurs dans la société française</vt:lpstr>
      <vt:lpstr>*** Des points de vigilance *** </vt:lpstr>
      <vt:lpstr>Les 6 familles de valeurs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Et dans cette salle ?</vt:lpstr>
      <vt:lpstr>Nous parlons toutes et tous de quelque part</vt:lpstr>
      <vt:lpstr>Notre enquête avec Harris Interactive</vt:lpstr>
      <vt:lpstr>Présentation PowerPoint</vt:lpstr>
      <vt:lpstr>Les mots des Militants désabusés  pour parler d’immigration</vt:lpstr>
      <vt:lpstr>Immigration :  des champs d’expression spontanée distincts</vt:lpstr>
      <vt:lpstr>En synthèse : divergences et convergences  des Militants désabusés avec les autres groupes</vt:lpstr>
      <vt:lpstr>A garder à l’esprit dans le dialogue </vt:lpstr>
      <vt:lpstr>Des pistes d’actions</vt:lpstr>
      <vt:lpstr>Les 6 amplificateurs d’engagement collectif</vt:lpstr>
      <vt:lpstr>Et si on essayait ?</vt:lpstr>
      <vt:lpstr>Attention</vt:lpstr>
      <vt:lpstr>#3 Extrait de nos groupes de discussion </vt:lpstr>
      <vt:lpstr>#2 Extrait de nos groupes de discussion </vt:lpstr>
      <vt:lpstr>#1 Extrait de nos groupes de discussion </vt:lpstr>
      <vt:lpstr>A vous d’agir !</vt:lpstr>
      <vt:lpstr>Merci !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subject/>
  <dc:creator>Fabrice UZUM</dc:creator>
  <dc:description>Widescreen 16x9 Template</dc:description>
  <cp:lastModifiedBy>Marion Cosperec</cp:lastModifiedBy>
  <cp:revision>9</cp:revision>
  <dcterms:created xsi:type="dcterms:W3CDTF">2020-10-28T16:11:14Z</dcterms:created>
  <dcterms:modified xsi:type="dcterms:W3CDTF">2023-10-05T16:03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Go Live Date">
    <vt:lpwstr>08_28_2019</vt:lpwstr>
  </property>
  <property fmtid="{D5CDD505-2E9C-101B-9397-08002B2CF9AE}" pid="3" name="ContentTypeId">
    <vt:lpwstr>0x0101002E2400B769963B459B481C2CAB0A0721</vt:lpwstr>
  </property>
  <property fmtid="{D5CDD505-2E9C-101B-9397-08002B2CF9AE}" pid="4" name="MediaServiceImageTags">
    <vt:lpwstr/>
  </property>
</Properties>
</file>